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22"/>
  </p:notesMasterIdLst>
  <p:handoutMasterIdLst>
    <p:handoutMasterId r:id="rId23"/>
  </p:handoutMasterIdLst>
  <p:sldIdLst>
    <p:sldId id="325" r:id="rId2"/>
    <p:sldId id="363" r:id="rId3"/>
    <p:sldId id="364" r:id="rId4"/>
    <p:sldId id="394" r:id="rId5"/>
    <p:sldId id="377" r:id="rId6"/>
    <p:sldId id="368" r:id="rId7"/>
    <p:sldId id="385" r:id="rId8"/>
    <p:sldId id="384" r:id="rId9"/>
    <p:sldId id="399" r:id="rId10"/>
    <p:sldId id="381" r:id="rId11"/>
    <p:sldId id="373" r:id="rId12"/>
    <p:sldId id="402" r:id="rId13"/>
    <p:sldId id="404" r:id="rId14"/>
    <p:sldId id="396" r:id="rId15"/>
    <p:sldId id="397" r:id="rId16"/>
    <p:sldId id="405" r:id="rId17"/>
    <p:sldId id="400" r:id="rId18"/>
    <p:sldId id="388" r:id="rId19"/>
    <p:sldId id="392" r:id="rId20"/>
    <p:sldId id="278" r:id="rId21"/>
  </p:sldIdLst>
  <p:sldSz cx="9144000" cy="6858000" type="screen4x3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ADC"/>
    <a:srgbClr val="FFFFCC"/>
    <a:srgbClr val="FFF2CF"/>
    <a:srgbClr val="ECFEDC"/>
    <a:srgbClr val="E6FED0"/>
    <a:srgbClr val="FFE5CB"/>
    <a:srgbClr val="F1AF87"/>
    <a:srgbClr val="EC9762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78" autoAdjust="0"/>
    <p:restoredTop sz="92397" autoAdjust="0"/>
  </p:normalViewPr>
  <p:slideViewPr>
    <p:cSldViewPr>
      <p:cViewPr varScale="1">
        <p:scale>
          <a:sx n="97" d="100"/>
          <a:sy n="97" d="100"/>
        </p:scale>
        <p:origin x="-336" y="1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08486-8CDB-42FC-BFBD-0B4F166D741C}" type="datetimeFigureOut">
              <a:rPr lang="en-US" smtClean="0"/>
              <a:t>6/10/2010</a:t>
            </a:fld>
            <a:endParaRPr lang="en-N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43BACB-5C4C-42D0-8EE2-D3F6C3801D58}" type="slidenum">
              <a:rPr lang="en-NZ" smtClean="0"/>
              <a:t>‹#›</a:t>
            </a:fld>
            <a:endParaRPr lang="en-N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83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0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983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83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05C5AC1-B6EA-4FD3-8EA0-3D63525039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39DB77-A078-485A-817E-E07FBB582D2B}" type="slidenum">
              <a:rPr lang="en-GB" smtClean="0"/>
              <a:pPr/>
              <a:t>4</a:t>
            </a:fld>
            <a:endParaRPr lang="en-GB" smtClean="0"/>
          </a:p>
        </p:txBody>
      </p:sp>
      <p:sp>
        <p:nvSpPr>
          <p:cNvPr id="30723" name="Rectangle 2"/>
          <p:cNvSpPr>
            <a:spLocks noRot="1" noChangeArrowheads="1" noTextEdit="1"/>
          </p:cNvSpPr>
          <p:nvPr>
            <p:ph type="sldImg"/>
          </p:nvPr>
        </p:nvSpPr>
        <p:spPr>
          <a:xfrm>
            <a:off x="-2273300" y="1279525"/>
            <a:ext cx="11303000" cy="8478838"/>
          </a:xfrm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4077" y="613522"/>
            <a:ext cx="5203683" cy="322272"/>
          </a:xfrm>
          <a:noFill/>
          <a:ln/>
        </p:spPr>
        <p:txBody>
          <a:bodyPr/>
          <a:lstStyle/>
          <a:p>
            <a:endParaRPr lang="en-NZ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6C696D4-07BA-4633-BD87-72F2D573300E}" type="slidenum">
              <a:rPr lang="en-GB" smtClean="0"/>
              <a:pPr/>
              <a:t>7</a:t>
            </a:fld>
            <a:endParaRPr lang="en-GB" smtClean="0"/>
          </a:p>
        </p:txBody>
      </p:sp>
      <p:sp>
        <p:nvSpPr>
          <p:cNvPr id="31747" name="Rectangle 2"/>
          <p:cNvSpPr>
            <a:spLocks noRot="1" noChangeArrowheads="1" noTextEdit="1"/>
          </p:cNvSpPr>
          <p:nvPr>
            <p:ph type="sldImg"/>
          </p:nvPr>
        </p:nvSpPr>
        <p:spPr>
          <a:xfrm>
            <a:off x="-2273300" y="1279525"/>
            <a:ext cx="11303000" cy="8478838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4077" y="613522"/>
            <a:ext cx="5203683" cy="322272"/>
          </a:xfrm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NZ" smtClean="0"/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3E0A7F7-ACE2-47A6-9681-938582D2EE02}" type="slidenum">
              <a:rPr lang="en-US" smtClean="0"/>
              <a:pPr/>
              <a:t>13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>
            <a:off x="0" y="5970588"/>
            <a:ext cx="9144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9525" y="6053138"/>
            <a:ext cx="2249488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359025" y="6043613"/>
            <a:ext cx="6784975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6069013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975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D215650-084F-44AB-901C-98308A9B51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47097-114C-4781-8E4A-1042532FA7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CB6504-C4B3-4770-9A85-E2D134431D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57E20-6AE6-444D-96CF-BD972C0F2A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B77710A-302E-4FD6-9D83-57CBA84F60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5CCC9AD3-C7A4-4CB0-9079-84FADC02EE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6C3D5D4D-E101-4224-8ABE-C16DE3414D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4973EA-8AA2-4DB4-808D-AAB492072E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91F66D4-0849-46D1-86F1-81A65036EB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E7B246-578E-469F-B569-8A02B0C36B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8" name="Rectangle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498C6A08-C957-4814-9AB6-8FB47A28EF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3DE1FA6-6403-4F85-89BF-ABFC105F08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26" r:id="rId2"/>
    <p:sldLayoutId id="2147484031" r:id="rId3"/>
    <p:sldLayoutId id="2147484032" r:id="rId4"/>
    <p:sldLayoutId id="2147484033" r:id="rId5"/>
    <p:sldLayoutId id="2147484027" r:id="rId6"/>
    <p:sldLayoutId id="2147484034" r:id="rId7"/>
    <p:sldLayoutId id="2147484028" r:id="rId8"/>
    <p:sldLayoutId id="2147484035" r:id="rId9"/>
    <p:sldLayoutId id="2147484029" r:id="rId10"/>
    <p:sldLayoutId id="214748403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6BB1C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6585CF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6"/>
          <p:cNvSpPr>
            <a:spLocks noGrp="1"/>
          </p:cNvSpPr>
          <p:nvPr>
            <p:ph type="body" idx="1"/>
          </p:nvPr>
        </p:nvSpPr>
        <p:spPr>
          <a:xfrm>
            <a:off x="285750" y="2000250"/>
            <a:ext cx="8715375" cy="3071813"/>
          </a:xfrm>
        </p:spPr>
        <p:txBody>
          <a:bodyPr/>
          <a:lstStyle/>
          <a:p>
            <a:pPr eaLnBrk="1" hangingPunct="1"/>
            <a:endParaRPr lang="en-US" altLang="zh-CN" sz="4000" b="1" smtClean="0">
              <a:ea typeface="宋体" pitchFamily="2" charset="-122"/>
            </a:endParaRPr>
          </a:p>
          <a:p>
            <a:pPr eaLnBrk="1" hangingPunct="1"/>
            <a:r>
              <a:rPr lang="en-US" altLang="zh-CN" sz="3400" b="1" smtClean="0">
                <a:solidFill>
                  <a:schemeClr val="tx1"/>
                </a:solidFill>
                <a:latin typeface="Arial Black" pitchFamily="34" charset="0"/>
                <a:ea typeface="宋体" pitchFamily="2" charset="-122"/>
              </a:rPr>
              <a:t>The effect of commercial lease structures on landlord-tenant leasing behaviours and experiences (Gross lease vs. net lease)</a:t>
            </a:r>
            <a:endParaRPr lang="en-NZ" sz="3400" smtClean="0">
              <a:solidFill>
                <a:schemeClr val="tx1"/>
              </a:solidFill>
              <a:latin typeface="Arial Black" pitchFamily="34" charset="0"/>
            </a:endParaRPr>
          </a:p>
          <a:p>
            <a:pPr eaLnBrk="1" hangingPunct="1"/>
            <a:endParaRPr lang="en-US" altLang="zh-CN" sz="4000" b="1" smtClean="0">
              <a:ea typeface="宋体" pitchFamily="2" charset="-122"/>
            </a:endParaRPr>
          </a:p>
          <a:p>
            <a:pPr eaLnBrk="1" hangingPunct="1"/>
            <a:endParaRPr lang="en-US" altLang="zh-CN" sz="4000" b="1" smtClean="0">
              <a:ea typeface="宋体" pitchFamily="2" charset="-122"/>
            </a:endParaRPr>
          </a:p>
          <a:p>
            <a:pPr eaLnBrk="1" hangingPunct="1"/>
            <a:endParaRPr lang="en-US" altLang="zh-CN" sz="4000" b="1" smtClean="0">
              <a:ea typeface="宋体" pitchFamily="2" charset="-122"/>
            </a:endParaRPr>
          </a:p>
          <a:p>
            <a:pPr eaLnBrk="1" hangingPunct="1"/>
            <a:endParaRPr lang="en-US" altLang="zh-CN" sz="4000" b="1" smtClean="0">
              <a:ea typeface="宋体" pitchFamily="2" charset="-122"/>
            </a:endParaRPr>
          </a:p>
          <a:p>
            <a:pPr eaLnBrk="1" hangingPunct="1"/>
            <a:endParaRPr lang="en-US" altLang="zh-CN" sz="4000" b="1" smtClean="0">
              <a:ea typeface="宋体" pitchFamily="2" charset="-122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14375" y="5214938"/>
            <a:ext cx="7772400" cy="1362075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700" dirty="0" smtClean="0">
                <a:solidFill>
                  <a:schemeClr val="tx1"/>
                </a:solidFill>
              </a:rPr>
              <a:t/>
            </a:r>
            <a:br>
              <a:rPr lang="en-US" sz="2700" dirty="0" smtClean="0">
                <a:solidFill>
                  <a:schemeClr val="tx1"/>
                </a:solidFill>
              </a:rPr>
            </a:br>
            <a:r>
              <a:rPr lang="en-US" sz="2700" dirty="0" smtClean="0">
                <a:solidFill>
                  <a:schemeClr val="tx1"/>
                </a:solidFill>
              </a:rPr>
              <a:t/>
            </a:r>
            <a:br>
              <a:rPr lang="en-US" sz="2700" dirty="0" smtClean="0">
                <a:solidFill>
                  <a:schemeClr val="tx1"/>
                </a:solidFill>
              </a:rPr>
            </a:br>
            <a:r>
              <a:rPr lang="en-US" sz="2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ulani</a:t>
            </a: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2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alvitigala</a:t>
            </a: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Deborah Levy, Laurence Murphy</a:t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he University of Auckland</a:t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Zealand </a:t>
            </a:r>
            <a:r>
              <a:rPr lang="en-US" dirty="0" smtClean="0"/>
              <a:t/>
            </a:r>
            <a:br>
              <a:rPr lang="en-US" dirty="0" smtClean="0"/>
            </a:br>
            <a:endParaRPr lang="en-N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28625" y="228600"/>
            <a:ext cx="8337550" cy="990600"/>
          </a:xfrm>
        </p:spPr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Landlord perception of leases 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sz="quarter" idx="1"/>
          </p:nvPr>
        </p:nvSpPr>
        <p:spPr>
          <a:xfrm>
            <a:off x="0" y="1500188"/>
            <a:ext cx="9144000" cy="53578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900" b="1" dirty="0" smtClean="0">
                <a:latin typeface="Arial" pitchFamily="34" charset="0"/>
                <a:cs typeface="Arial" pitchFamily="34" charset="0"/>
              </a:rPr>
              <a:t>Preferred lease type – fully recoverable net leases </a:t>
            </a:r>
          </a:p>
          <a:p>
            <a:pPr lvl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600" dirty="0" smtClean="0">
                <a:latin typeface="Arial" pitchFamily="34" charset="0"/>
                <a:cs typeface="Arial" pitchFamily="34" charset="0"/>
              </a:rPr>
              <a:t>Greater security of the NOI and asset residual value, reduced investment risks 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900" b="1" dirty="0" smtClean="0">
                <a:latin typeface="Arial" pitchFamily="34" charset="0"/>
                <a:cs typeface="Arial" pitchFamily="34" charset="0"/>
              </a:rPr>
              <a:t>Strong objections to gross leases</a:t>
            </a:r>
          </a:p>
          <a:p>
            <a:pPr lvl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600" dirty="0" smtClean="0">
                <a:latin typeface="Arial" pitchFamily="34" charset="0"/>
                <a:cs typeface="Arial" pitchFamily="34" charset="0"/>
              </a:rPr>
              <a:t>NOI is prone to OPEX price inflations</a:t>
            </a:r>
          </a:p>
          <a:p>
            <a:pPr lvl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600" dirty="0" smtClean="0">
                <a:latin typeface="Arial" pitchFamily="34" charset="0"/>
                <a:cs typeface="Arial" pitchFamily="34" charset="0"/>
              </a:rPr>
              <a:t>Do not have freedom in raising gross rentals due to market competitiveness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900" b="1" dirty="0" smtClean="0">
                <a:latin typeface="Arial" pitchFamily="34" charset="0"/>
                <a:cs typeface="Arial" pitchFamily="34" charset="0"/>
              </a:rPr>
              <a:t>Current leases in their portfolios</a:t>
            </a:r>
          </a:p>
          <a:p>
            <a:pPr lvl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600" dirty="0" smtClean="0">
                <a:latin typeface="Arial" pitchFamily="34" charset="0"/>
                <a:cs typeface="Arial" pitchFamily="34" charset="0"/>
              </a:rPr>
              <a:t>Auckland – net leases</a:t>
            </a:r>
          </a:p>
          <a:p>
            <a:pPr lvl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Char char="§"/>
              <a:defRPr/>
            </a:pPr>
            <a:r>
              <a:rPr lang="en-NZ" sz="1600" dirty="0" smtClean="0">
                <a:latin typeface="Arial" pitchFamily="34" charset="0"/>
                <a:cs typeface="Arial" pitchFamily="34" charset="0"/>
              </a:rPr>
              <a:t>Wellington – mainly gross leases due to the strong influence of public sector tenants </a:t>
            </a:r>
          </a:p>
          <a:p>
            <a:pPr marL="360363" lvl="1" indent="-360363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5000"/>
              <a:buFont typeface="Wingdings" pitchFamily="2" charset="2"/>
              <a:buChar char="§"/>
              <a:defRPr/>
            </a:pPr>
            <a:r>
              <a:rPr lang="en-GB" sz="1900" b="1" dirty="0" smtClean="0">
                <a:latin typeface="Arial" pitchFamily="34" charset="0"/>
                <a:cs typeface="Arial" pitchFamily="34" charset="0"/>
              </a:rPr>
              <a:t>Despite the strong preference for fully recoverable net leases, their leasing strategies and behaviours significantly varied across submarkets in New Zealand with the sector and size of the tenant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None/>
              <a:defRPr/>
            </a:pPr>
            <a:endParaRPr lang="en-NZ" sz="20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80000"/>
              <a:buFont typeface="Wingdings" pitchFamily="2" charset="2"/>
              <a:buNone/>
              <a:defRPr/>
            </a:pPr>
            <a:endParaRPr lang="en-NZ" sz="20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9144000" cy="990600"/>
          </a:xfrm>
        </p:spPr>
        <p:txBody>
          <a:bodyPr/>
          <a:lstStyle/>
          <a:p>
            <a:r>
              <a:rPr lang="en-NZ" sz="3800" b="1" smtClean="0">
                <a:solidFill>
                  <a:schemeClr val="tx1"/>
                </a:solidFill>
              </a:rPr>
              <a:t>Financial implication for investment returns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sz="quarter" idx="1"/>
          </p:nvPr>
        </p:nvSpPr>
        <p:spPr>
          <a:xfrm>
            <a:off x="71438" y="1571625"/>
            <a:ext cx="9001125" cy="5257800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r>
              <a:rPr lang="en-NZ" sz="1900" b="1" smtClean="0">
                <a:latin typeface="Arial" charset="0"/>
                <a:cs typeface="Arial" charset="0"/>
              </a:rPr>
              <a:t>Gross leases are at high risk of receiving lower &amp; more volatile net return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Unable to share or shift the risks associated with OPEX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r>
              <a:rPr lang="en-NZ" sz="1900" b="1" smtClean="0">
                <a:latin typeface="Arial" charset="0"/>
                <a:cs typeface="Arial" charset="0"/>
              </a:rPr>
              <a:t>Small landlords operating in isolation experience more negative impact 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Low negotiation power, Ill-negotiated lease provision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Poorly planned lease and OPEX management philosophies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r>
              <a:rPr lang="en-NZ" sz="1900" b="1" smtClean="0">
                <a:latin typeface="Arial" charset="0"/>
                <a:cs typeface="Arial" charset="0"/>
              </a:rPr>
              <a:t>The impact on NOI is minimal for large scale institutional landlord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Strong OPEX purchasing power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Long term fixed contracts with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Carefully prepared OPEX budgets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9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Short rent review intervals 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None/>
            </a:pPr>
            <a:endParaRPr lang="en-NZ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9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2875" y="5500688"/>
            <a:ext cx="8929688" cy="12858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50000"/>
              </a:lnSpc>
              <a:defRPr/>
            </a:pPr>
            <a:endParaRPr lang="en-NZ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GB" sz="16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“Large property funds operate both gross and net leases in a similar way, so that puts away a lot of arguments about pros and cons of net &amp; gross. But  for small, less sophisticated landlords with poor OPEX purchasing power, gross leased buildings will definitely be a poorer performer” </a:t>
            </a:r>
            <a:endParaRPr lang="en-N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50000"/>
              </a:lnSpc>
              <a:defRPr/>
            </a:pPr>
            <a:endParaRPr lang="en-N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142875" y="273050"/>
            <a:ext cx="8929688" cy="869950"/>
          </a:xfrm>
        </p:spPr>
        <p:txBody>
          <a:bodyPr/>
          <a:lstStyle/>
          <a:p>
            <a:r>
              <a:rPr lang="en-NZ" sz="4000" b="1" smtClean="0">
                <a:solidFill>
                  <a:schemeClr val="tx1"/>
                </a:solidFill>
              </a:rPr>
              <a:t>OPEX sharing process </a:t>
            </a:r>
            <a:endParaRPr lang="en-NZ" sz="4000" smtClean="0"/>
          </a:p>
        </p:txBody>
      </p:sp>
      <p:sp>
        <p:nvSpPr>
          <p:cNvPr id="20483" name="Content Placeholder 2"/>
          <p:cNvSpPr>
            <a:spLocks noGrp="1"/>
          </p:cNvSpPr>
          <p:nvPr>
            <p:ph sz="quarter" idx="2"/>
          </p:nvPr>
        </p:nvSpPr>
        <p:spPr>
          <a:xfrm>
            <a:off x="71438" y="2081213"/>
            <a:ext cx="4286250" cy="477678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Attempt to negotiate “gross plus increases” leases with public tenants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Recover almost all OPEX from net lease tenants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Pass-through some expenses which have been identified as non-passable in the literature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Sinking fund contributions, management fees, corporate fees 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Reflect their strong negotiation power 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None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</p:txBody>
      </p:sp>
      <p:sp>
        <p:nvSpPr>
          <p:cNvPr id="20484" name="Content Placeholder 3"/>
          <p:cNvSpPr>
            <a:spLocks noGrp="1"/>
          </p:cNvSpPr>
          <p:nvPr>
            <p:ph sz="quarter" idx="4"/>
          </p:nvPr>
        </p:nvSpPr>
        <p:spPr>
          <a:xfrm>
            <a:off x="4429125" y="2081213"/>
            <a:ext cx="4572000" cy="477678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b="1" smtClean="0">
                <a:latin typeface="Arial" charset="0"/>
                <a:cs typeface="Arial" charset="0"/>
              </a:rPr>
              <a:t>Public sector tenant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Do not wish to pay any OPEX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Maintaining the property is landlords’ core business, not tenants’ 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b="1" smtClean="0">
                <a:latin typeface="Arial" charset="0"/>
                <a:cs typeface="Arial" charset="0"/>
              </a:rPr>
              <a:t>Private sector tenants 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Willing to share OPEX to have a well-maintained property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Unhappy that landlords retain the full control of OPEX management decisions  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Want to have more control over the OPEX they are paying for 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 2" pitchFamily="18" charset="2"/>
              <a:buNone/>
            </a:pPr>
            <a:endParaRPr lang="en-NZ" sz="15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endParaRPr lang="en-NZ" sz="15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None/>
            </a:pPr>
            <a:r>
              <a:rPr lang="en-NZ" sz="1800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0485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71438" y="1643063"/>
            <a:ext cx="4214812" cy="390525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Landlord’s perspect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429125" y="1643063"/>
            <a:ext cx="4572000" cy="390525"/>
          </a:xfrm>
        </p:spPr>
        <p:txBody>
          <a:bodyPr/>
          <a:lstStyle/>
          <a:p>
            <a:pPr>
              <a:buClrTx/>
              <a:buSzPct val="100000"/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nant’s perspective 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142875" y="273050"/>
            <a:ext cx="8929688" cy="869950"/>
          </a:xfrm>
        </p:spPr>
        <p:txBody>
          <a:bodyPr/>
          <a:lstStyle/>
          <a:p>
            <a:r>
              <a:rPr lang="en-NZ" sz="4000" b="1" smtClean="0">
                <a:solidFill>
                  <a:schemeClr val="tx1"/>
                </a:solidFill>
              </a:rPr>
              <a:t>Issues with OPEX sharing process under net lease</a:t>
            </a:r>
            <a:endParaRPr lang="en-NZ" sz="4000" smtClean="0"/>
          </a:p>
        </p:txBody>
      </p:sp>
      <p:sp>
        <p:nvSpPr>
          <p:cNvPr id="21507" name="Content Placeholder 2"/>
          <p:cNvSpPr>
            <a:spLocks noGrp="1"/>
          </p:cNvSpPr>
          <p:nvPr>
            <p:ph sz="quarter" idx="2"/>
          </p:nvPr>
        </p:nvSpPr>
        <p:spPr>
          <a:xfrm>
            <a:off x="142875" y="2152650"/>
            <a:ext cx="4000500" cy="4419600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Perceive that there are no significant issues with the OPEX sharing proces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Tenant queries mainly on: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Power expenses 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Repair type work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Sinking fund contributions 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</a:pPr>
            <a:endParaRPr lang="en-NZ" sz="1800" smtClean="0">
              <a:latin typeface="Arial" charset="0"/>
              <a:cs typeface="Arial" charset="0"/>
            </a:endParaRPr>
          </a:p>
        </p:txBody>
      </p:sp>
      <p:sp>
        <p:nvSpPr>
          <p:cNvPr id="21508" name="Content Placeholder 3"/>
          <p:cNvSpPr>
            <a:spLocks noGrp="1"/>
          </p:cNvSpPr>
          <p:nvPr>
            <p:ph sz="quarter" idx="4"/>
          </p:nvPr>
        </p:nvSpPr>
        <p:spPr>
          <a:xfrm>
            <a:off x="4214813" y="2081213"/>
            <a:ext cx="4929187" cy="477678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Net tenants are more dissatisfied with their OPEX responsibilities than landlords perceive they are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Overcharging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Invoiced for items not legitimately considered as OPEX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Less transparency in OPEX calculation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Delays in OPEX reconciliation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Slow response to OPEX querie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Larger tenants have less issues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Receive all proposed OPEX and CAPEX budgets in advance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Opportunity to discuss and debate proposed budgets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NZ" sz="1500" smtClean="0">
              <a:latin typeface="Arial" charset="0"/>
              <a:cs typeface="Arial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None/>
            </a:pPr>
            <a:r>
              <a:rPr lang="en-NZ" sz="1800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1509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142875" y="1643063"/>
            <a:ext cx="4000500" cy="390525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Landlord’s perspectiv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214813" y="1643063"/>
            <a:ext cx="4929187" cy="390525"/>
          </a:xfrm>
        </p:spPr>
        <p:txBody>
          <a:bodyPr/>
          <a:lstStyle/>
          <a:p>
            <a:pPr>
              <a:buClrTx/>
              <a:buSzPct val="100000"/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nant’s perspective 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438" y="4857750"/>
            <a:ext cx="4000500" cy="19288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50000"/>
              </a:lnSpc>
              <a:defRPr/>
            </a:pPr>
            <a:r>
              <a:rPr lang="en-GB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“Every now and then we’ll have something someone wants to clarify. No, we don’t usually have problems, in OPEX wash-up time we might get 3 or 4 enquiries, but nothing of any real consequences”</a:t>
            </a:r>
            <a:endParaRPr lang="en-N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Operation &amp; maintenance process</a:t>
            </a:r>
            <a:endParaRPr lang="en-NZ" smtClean="0"/>
          </a:p>
        </p:txBody>
      </p:sp>
      <p:sp>
        <p:nvSpPr>
          <p:cNvPr id="22531" name="Content Placeholder 2"/>
          <p:cNvSpPr>
            <a:spLocks noGrp="1"/>
          </p:cNvSpPr>
          <p:nvPr>
            <p:ph sz="quarter" idx="2"/>
          </p:nvPr>
        </p:nvSpPr>
        <p:spPr>
          <a:xfrm>
            <a:off x="0" y="2152650"/>
            <a:ext cx="4000500" cy="4705350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Element of under-maintenance of gross leased properties</a:t>
            </a: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More evident in early stages of gross leases</a:t>
            </a: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More evident with short-term investors </a:t>
            </a: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800" smtClean="0">
                <a:latin typeface="Arial" charset="0"/>
                <a:cs typeface="Arial" charset="0"/>
              </a:rPr>
              <a:t>Less evident in gross properties owned by institutional investors</a:t>
            </a:r>
          </a:p>
          <a:p>
            <a:pPr lvl="1"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Reporting requirements to their shareholders</a:t>
            </a:r>
          </a:p>
          <a:p>
            <a:pPr lvl="1">
              <a:spcBef>
                <a:spcPts val="1000"/>
              </a:spcBef>
              <a:spcAft>
                <a:spcPts val="10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Desire to maintain the reputation of their company and its buildings </a:t>
            </a: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</p:txBody>
      </p:sp>
      <p:sp>
        <p:nvSpPr>
          <p:cNvPr id="22532" name="Content Placeholder 3"/>
          <p:cNvSpPr>
            <a:spLocks noGrp="1"/>
          </p:cNvSpPr>
          <p:nvPr>
            <p:ph sz="quarter" idx="4"/>
          </p:nvPr>
        </p:nvSpPr>
        <p:spPr>
          <a:xfrm>
            <a:off x="4143375" y="2071688"/>
            <a:ext cx="5000625" cy="4786312"/>
          </a:xfrm>
        </p:spPr>
        <p:txBody>
          <a:bodyPr/>
          <a:lstStyle/>
          <a:p>
            <a:pPr>
              <a:lnSpc>
                <a:spcPct val="120000"/>
              </a:lnSpc>
              <a:buClrTx/>
              <a:buSzPct val="90000"/>
              <a:buFont typeface="Wingdings" pitchFamily="2" charset="2"/>
              <a:buChar char="§"/>
            </a:pPr>
            <a:r>
              <a:rPr lang="en-US" sz="1800" smtClean="0">
                <a:latin typeface="Arial" charset="0"/>
              </a:rPr>
              <a:t>Gross tenants are more satisfied with their buildings’ O&amp;M process than net tenants</a:t>
            </a:r>
          </a:p>
          <a:p>
            <a:pPr marL="715963" lvl="1" indent="-244475">
              <a:lnSpc>
                <a:spcPct val="110000"/>
              </a:lnSpc>
              <a:buClrTx/>
              <a:buSzTx/>
              <a:buFont typeface="Wingdings" pitchFamily="2" charset="2"/>
              <a:buChar char="§"/>
            </a:pPr>
            <a:r>
              <a:rPr lang="en-US" altLang="zh-CN" sz="1600" smtClean="0">
                <a:latin typeface="Arial" charset="0"/>
                <a:ea typeface="宋体" pitchFamily="2" charset="-122"/>
                <a:cs typeface="Arial" charset="0"/>
              </a:rPr>
              <a:t>Net tenants have higher expectations as they are paying for O&amp;M</a:t>
            </a:r>
          </a:p>
          <a:p>
            <a:pPr marL="715963" lvl="1" indent="-244475">
              <a:lnSpc>
                <a:spcPct val="110000"/>
              </a:lnSpc>
              <a:buClrTx/>
              <a:buSzTx/>
              <a:buFont typeface="Wingdings" pitchFamily="2" charset="2"/>
              <a:buChar char="§"/>
            </a:pPr>
            <a:r>
              <a:rPr lang="en-US" altLang="zh-CN" sz="1600" smtClean="0">
                <a:latin typeface="Arial" charset="0"/>
                <a:ea typeface="宋体" pitchFamily="2" charset="-122"/>
                <a:cs typeface="Arial" charset="0"/>
              </a:rPr>
              <a:t>Net international tenants compare O&amp;M levels with their buildings overseas   </a:t>
            </a:r>
            <a:r>
              <a:rPr lang="en-US" sz="1600" smtClean="0">
                <a:latin typeface="Arial" charset="0"/>
                <a:cs typeface="Arial" charset="0"/>
              </a:rPr>
              <a:t> </a:t>
            </a:r>
          </a:p>
          <a:p>
            <a:pPr marL="715963" lvl="1" indent="-244475">
              <a:lnSpc>
                <a:spcPct val="110000"/>
              </a:lnSpc>
              <a:buClrTx/>
              <a:buSzPct val="105000"/>
              <a:buFont typeface="Wingdings 2" pitchFamily="18" charset="2"/>
              <a:buNone/>
            </a:pPr>
            <a:endParaRPr lang="en-US" sz="1300" smtClean="0">
              <a:latin typeface="Arial" charset="0"/>
            </a:endParaRPr>
          </a:p>
          <a:p>
            <a:pPr>
              <a:lnSpc>
                <a:spcPct val="120000"/>
              </a:lnSpc>
              <a:buClrTx/>
              <a:buSzPct val="105000"/>
              <a:buFont typeface="Wingdings" pitchFamily="2" charset="2"/>
              <a:buChar char="§"/>
            </a:pPr>
            <a:r>
              <a:rPr lang="en-US" sz="1800" smtClean="0">
                <a:latin typeface="Arial" charset="0"/>
              </a:rPr>
              <a:t>Public tenants are more satisfied with their buildings’ O&amp;M process than private tenants </a:t>
            </a:r>
          </a:p>
          <a:p>
            <a:pPr marL="715963" lvl="1" indent="-244475">
              <a:lnSpc>
                <a:spcPct val="110000"/>
              </a:lnSpc>
              <a:buClrTx/>
              <a:buSzPct val="95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</a:rPr>
              <a:t>Different expectations of public and private sector tenants</a:t>
            </a:r>
          </a:p>
          <a:p>
            <a:pPr marL="715963" lvl="1" indent="-244475">
              <a:lnSpc>
                <a:spcPct val="110000"/>
              </a:lnSpc>
              <a:buClrTx/>
              <a:buSzPct val="95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</a:rPr>
              <a:t>Strong influence enjoyed by public tenants</a:t>
            </a:r>
          </a:p>
          <a:p>
            <a:pPr marL="715963" lvl="1" indent="-244475">
              <a:lnSpc>
                <a:spcPct val="110000"/>
              </a:lnSpc>
              <a:buClrTx/>
              <a:buSzPct val="95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</a:rPr>
              <a:t>Private sector tenants may have more skills in early detection of O&amp;M inefficiencies </a:t>
            </a:r>
          </a:p>
          <a:p>
            <a:pPr>
              <a:buClrTx/>
              <a:buSzPct val="10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</p:txBody>
      </p:sp>
      <p:sp>
        <p:nvSpPr>
          <p:cNvPr id="22533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0" y="1571625"/>
            <a:ext cx="4000500" cy="500063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Landlord’s perspectiv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143375" y="1571625"/>
            <a:ext cx="5000625" cy="500063"/>
          </a:xfrm>
        </p:spPr>
        <p:txBody>
          <a:bodyPr/>
          <a:lstStyle/>
          <a:p>
            <a:pPr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nant’s perspective 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Landlord-tenant relationship </a:t>
            </a:r>
            <a:endParaRPr lang="en-NZ" smtClean="0"/>
          </a:p>
        </p:txBody>
      </p:sp>
      <p:sp>
        <p:nvSpPr>
          <p:cNvPr id="23555" name="Content Placeholder 2"/>
          <p:cNvSpPr>
            <a:spLocks noGrp="1"/>
          </p:cNvSpPr>
          <p:nvPr>
            <p:ph sz="quarter" idx="2"/>
          </p:nvPr>
        </p:nvSpPr>
        <p:spPr>
          <a:xfrm>
            <a:off x="0" y="2081213"/>
            <a:ext cx="3929063" cy="4562475"/>
          </a:xfrm>
        </p:spPr>
        <p:txBody>
          <a:bodyPr/>
          <a:lstStyle/>
          <a:p>
            <a:pPr marL="263525" lvl="1" indent="-263525">
              <a:spcBef>
                <a:spcPts val="1200"/>
              </a:spcBef>
              <a:spcAft>
                <a:spcPts val="1200"/>
              </a:spcAft>
              <a:buClrTx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Adopt different relationship approaches with different tenants  </a:t>
            </a:r>
          </a:p>
          <a:p>
            <a:pPr marL="263525" lvl="1" indent="-263525">
              <a:spcBef>
                <a:spcPts val="1200"/>
              </a:spcBef>
              <a:spcAft>
                <a:spcPts val="1200"/>
              </a:spcAft>
              <a:buClrTx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Partial and biased towards more desirable tenants despite their lease type </a:t>
            </a:r>
          </a:p>
          <a:p>
            <a:pPr marL="720725" lvl="2" indent="-2778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Partnership-type relationships with major tenants</a:t>
            </a:r>
          </a:p>
          <a:p>
            <a:pPr marL="720725" lvl="2" indent="-27781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Adversarial-type relationship with small tenants 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Tx/>
              <a:buSzPct val="10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4"/>
          </p:nvPr>
        </p:nvSpPr>
        <p:spPr>
          <a:xfrm>
            <a:off x="4000500" y="2019300"/>
            <a:ext cx="5143500" cy="4838700"/>
          </a:xfrm>
        </p:spPr>
        <p:txBody>
          <a:bodyPr/>
          <a:lstStyle/>
          <a:p>
            <a:pPr marL="442913" lvl="1" indent="-263525">
              <a:spcBef>
                <a:spcPts val="900"/>
              </a:spcBef>
              <a:spcAft>
                <a:spcPts val="900"/>
              </a:spcAft>
              <a:buClrTx/>
              <a:buSzPct val="75000"/>
              <a:buFont typeface="Wingdings" pitchFamily="2" charset="2"/>
              <a:buChar char="§"/>
              <a:defRPr/>
            </a:pPr>
            <a:r>
              <a:rPr lang="en-NZ" altLang="zh-CN" sz="1900" dirty="0" smtClean="0">
                <a:latin typeface="Arial" charset="0"/>
                <a:ea typeface="宋体" pitchFamily="2" charset="-122"/>
              </a:rPr>
              <a:t>Gross tenants perceive stronger relationships with their landlords than net tenants</a:t>
            </a:r>
          </a:p>
          <a:p>
            <a:pPr marL="442913" lvl="1" indent="-263525">
              <a:spcBef>
                <a:spcPts val="900"/>
              </a:spcBef>
              <a:spcAft>
                <a:spcPts val="900"/>
              </a:spcAft>
              <a:buClrTx/>
              <a:buSzPct val="75000"/>
              <a:buFont typeface="Wingdings" pitchFamily="2" charset="2"/>
              <a:buChar char="§"/>
              <a:defRPr/>
            </a:pPr>
            <a:r>
              <a:rPr lang="en-NZ" altLang="zh-CN" sz="1900" dirty="0" smtClean="0">
                <a:latin typeface="Arial" charset="0"/>
                <a:ea typeface="宋体" pitchFamily="2" charset="-122"/>
              </a:rPr>
              <a:t>Simplicity in gross leases</a:t>
            </a:r>
          </a:p>
          <a:p>
            <a:pPr marL="442913" lvl="1" indent="-263525">
              <a:spcBef>
                <a:spcPts val="900"/>
              </a:spcBef>
              <a:spcAft>
                <a:spcPts val="900"/>
              </a:spcAft>
              <a:buClrTx/>
              <a:buSzPct val="75000"/>
              <a:buFont typeface="Wingdings" pitchFamily="2" charset="2"/>
              <a:buChar char="§"/>
              <a:defRPr/>
            </a:pPr>
            <a:r>
              <a:rPr lang="en-NZ" altLang="zh-CN" sz="1900" dirty="0" smtClean="0">
                <a:latin typeface="Arial" charset="0"/>
                <a:ea typeface="宋体" pitchFamily="2" charset="-122"/>
              </a:rPr>
              <a:t>More potential for conflicts under net leasing</a:t>
            </a:r>
          </a:p>
          <a:p>
            <a:pPr marL="720725" lvl="2" indent="-277813">
              <a:spcBef>
                <a:spcPts val="900"/>
              </a:spcBef>
              <a:spcAft>
                <a:spcPts val="900"/>
              </a:spcAft>
              <a:buClrTx/>
              <a:buFont typeface="Wingdings" pitchFamily="2" charset="2"/>
              <a:buChar char="§"/>
              <a:defRPr/>
            </a:pPr>
            <a:r>
              <a:rPr lang="en-US" altLang="zh-CN" sz="1600" dirty="0" smtClean="0">
                <a:latin typeface="Arial" charset="0"/>
                <a:ea typeface="宋体" pitchFamily="2" charset="-122"/>
              </a:rPr>
              <a:t>Conflicts over the OPEX, more suspicious  of landlord’s OPEX spending   </a:t>
            </a:r>
            <a:endParaRPr lang="en-NZ" altLang="zh-CN" sz="1600" dirty="0" smtClean="0">
              <a:latin typeface="Arial" charset="0"/>
              <a:ea typeface="宋体" pitchFamily="2" charset="-122"/>
            </a:endParaRPr>
          </a:p>
          <a:p>
            <a:pPr marL="460375" lvl="1" indent="-280988">
              <a:spcBef>
                <a:spcPts val="900"/>
              </a:spcBef>
              <a:spcAft>
                <a:spcPts val="900"/>
              </a:spcAft>
              <a:buClrTx/>
              <a:buSzPct val="75000"/>
              <a:buFont typeface="Wingdings" pitchFamily="2" charset="2"/>
              <a:buChar char="§"/>
              <a:defRPr/>
            </a:pPr>
            <a:r>
              <a:rPr lang="en-US" altLang="zh-CN" sz="1900" dirty="0" smtClean="0">
                <a:latin typeface="Arial" charset="0"/>
                <a:ea typeface="宋体" pitchFamily="2" charset="-122"/>
              </a:rPr>
              <a:t>Conflicting attitudes expressed by international tenants</a:t>
            </a:r>
          </a:p>
          <a:p>
            <a:pPr marL="720725" lvl="2" indent="-277813">
              <a:spcBef>
                <a:spcPts val="900"/>
              </a:spcBef>
              <a:spcAft>
                <a:spcPts val="900"/>
              </a:spcAft>
              <a:buClrTx/>
              <a:buFont typeface="Wingdings" pitchFamily="2" charset="2"/>
              <a:buChar char="§"/>
              <a:defRPr/>
            </a:pPr>
            <a:r>
              <a:rPr lang="en-US" altLang="zh-CN" sz="1600" dirty="0" smtClean="0">
                <a:latin typeface="Arial" charset="0"/>
                <a:ea typeface="宋体" pitchFamily="2" charset="-122"/>
              </a:rPr>
              <a:t>Landlords’ aversion to gross lease has a negative impact on relationship levels  </a:t>
            </a:r>
          </a:p>
          <a:p>
            <a:pPr>
              <a:buClrTx/>
              <a:buSzPct val="100000"/>
              <a:buFont typeface="Wingdings" pitchFamily="2" charset="2"/>
              <a:buChar char="§"/>
              <a:defRPr/>
            </a:pPr>
            <a:endParaRPr lang="en-NZ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557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71438" y="1643063"/>
            <a:ext cx="3857625" cy="400050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Landlord’s perspectiv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000500" y="1643063"/>
            <a:ext cx="5143500" cy="400050"/>
          </a:xfrm>
        </p:spPr>
        <p:txBody>
          <a:bodyPr/>
          <a:lstStyle/>
          <a:p>
            <a:pPr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nant’s perspective 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Future lease preferences </a:t>
            </a:r>
            <a:endParaRPr lang="en-NZ" smtClean="0"/>
          </a:p>
        </p:txBody>
      </p:sp>
      <p:sp>
        <p:nvSpPr>
          <p:cNvPr id="24579" name="Content Placeholder 2"/>
          <p:cNvSpPr>
            <a:spLocks noGrp="1"/>
          </p:cNvSpPr>
          <p:nvPr>
            <p:ph sz="quarter" idx="2"/>
          </p:nvPr>
        </p:nvSpPr>
        <p:spPr>
          <a:xfrm>
            <a:off x="142875" y="3062288"/>
            <a:ext cx="4352925" cy="37957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Net leases with 100% recoverable OPEX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More flexible leasing approach in Wellington 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Tougher lease provision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More expenses items as OPEX passed through on to tenant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Annual rent review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NZ" sz="1500" smtClean="0">
                <a:latin typeface="Arial" charset="0"/>
                <a:cs typeface="Arial" charset="0"/>
              </a:rPr>
              <a:t>Obligations on tenants in terms of environmental sustainability</a:t>
            </a:r>
          </a:p>
          <a:p>
            <a:endParaRPr lang="en-NZ" smtClean="0"/>
          </a:p>
        </p:txBody>
      </p:sp>
      <p:sp>
        <p:nvSpPr>
          <p:cNvPr id="24580" name="Content Placeholder 3"/>
          <p:cNvSpPr>
            <a:spLocks noGrp="1"/>
          </p:cNvSpPr>
          <p:nvPr>
            <p:ph sz="quarter" idx="4"/>
          </p:nvPr>
        </p:nvSpPr>
        <p:spPr>
          <a:xfrm>
            <a:off x="4572000" y="3062288"/>
            <a:ext cx="4572000" cy="37957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u="sng" smtClean="0">
                <a:latin typeface="Arial" charset="0"/>
              </a:rPr>
              <a:t>Public sector tenants</a:t>
            </a:r>
          </a:p>
          <a:p>
            <a:pPr marL="623888" lvl="2" indent="-263525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eference to maintain gross leases </a:t>
            </a:r>
          </a:p>
          <a:p>
            <a:pPr marL="623888" lvl="2" indent="-263525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None/>
            </a:pPr>
            <a:endParaRPr lang="en-US" sz="15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u="sng" smtClean="0">
                <a:latin typeface="Arial" charset="0"/>
              </a:rPr>
              <a:t>Private sector tenants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efer net leases with measures to reduce uncertainty in OPEX   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  <a:cs typeface="Arial" charset="0"/>
              </a:rPr>
              <a:t>Capped OPEX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  <a:cs typeface="Arial" charset="0"/>
              </a:rPr>
              <a:t>CPI adjusted OPEX increases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600" smtClean="0">
                <a:latin typeface="Arial" charset="0"/>
                <a:cs typeface="Arial" charset="0"/>
              </a:rPr>
              <a:t>Recover only increases in OPEX </a:t>
            </a:r>
            <a:endParaRPr lang="en-NZ" sz="16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endParaRPr lang="en-NZ" smtClean="0"/>
          </a:p>
        </p:txBody>
      </p:sp>
      <p:sp>
        <p:nvSpPr>
          <p:cNvPr id="24581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142875" y="2571750"/>
            <a:ext cx="4352925" cy="471488"/>
          </a:xfrm>
        </p:spPr>
        <p:txBody>
          <a:bodyPr/>
          <a:lstStyle/>
          <a:p>
            <a:r>
              <a:rPr lang="en-NZ" sz="1800" smtClean="0">
                <a:solidFill>
                  <a:schemeClr val="tx1"/>
                </a:solidFill>
                <a:latin typeface="Arial" charset="0"/>
                <a:cs typeface="Arial" charset="0"/>
              </a:rPr>
              <a:t>Landlord’s perspectiv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572000" y="2571750"/>
            <a:ext cx="4572000" cy="471488"/>
          </a:xfrm>
        </p:spPr>
        <p:txBody>
          <a:bodyPr/>
          <a:lstStyle/>
          <a:p>
            <a:pPr>
              <a:defRPr/>
            </a:pPr>
            <a:r>
              <a:rPr lang="en-NZ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nant’s perspective </a:t>
            </a:r>
            <a:endParaRPr lang="en-NZ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583" name="Rectangle 6"/>
          <p:cNvSpPr>
            <a:spLocks noChangeArrowheads="1"/>
          </p:cNvSpPr>
          <p:nvPr/>
        </p:nvSpPr>
        <p:spPr bwMode="auto">
          <a:xfrm>
            <a:off x="214313" y="1571625"/>
            <a:ext cx="8929687" cy="87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>
              <a:lnSpc>
                <a:spcPct val="150000"/>
              </a:lnSpc>
              <a:buFont typeface="Wingdings" pitchFamily="2" charset="2"/>
              <a:buChar char="§"/>
            </a:pPr>
            <a:r>
              <a:rPr lang="en-NZ" b="1"/>
              <a:t>Possible mismatches between tenant lease requirements and actual leases    offered in the future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71438" y="273050"/>
            <a:ext cx="9001125" cy="869950"/>
          </a:xfrm>
        </p:spPr>
        <p:txBody>
          <a:bodyPr/>
          <a:lstStyle/>
          <a:p>
            <a:r>
              <a:rPr lang="en-NZ" sz="3800" b="1" smtClean="0">
                <a:solidFill>
                  <a:schemeClr val="tx1"/>
                </a:solidFill>
              </a:rPr>
              <a:t>Flexibility in tenant future lease selections </a:t>
            </a:r>
          </a:p>
        </p:txBody>
      </p:sp>
      <p:sp>
        <p:nvSpPr>
          <p:cNvPr id="25603" name="Content Placeholder 2"/>
          <p:cNvSpPr>
            <a:spLocks noGrp="1"/>
          </p:cNvSpPr>
          <p:nvPr>
            <p:ph sz="quarter" idx="2"/>
          </p:nvPr>
        </p:nvSpPr>
        <p:spPr>
          <a:xfrm>
            <a:off x="76200" y="2652713"/>
            <a:ext cx="4495800" cy="434816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2000" smtClean="0">
                <a:latin typeface="Arial" charset="0"/>
                <a:cs typeface="Arial" charset="0"/>
              </a:rPr>
              <a:t>Willing to consider net leases if:</a:t>
            </a:r>
          </a:p>
          <a:p>
            <a:pPr marL="539750" lvl="1" indent="-276225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the building is green or new, energy efficient </a:t>
            </a:r>
          </a:p>
          <a:p>
            <a:pPr marL="539750" lvl="1" indent="-276225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they are the sole tenant or have the naming right </a:t>
            </a:r>
          </a:p>
          <a:p>
            <a:pPr marL="539750" lvl="1" indent="-276225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700" smtClean="0">
                <a:latin typeface="Arial" charset="0"/>
                <a:cs typeface="Arial" charset="0"/>
              </a:rPr>
              <a:t>the terms and conditions of the net lease are in favour of the tenant</a:t>
            </a:r>
          </a:p>
          <a:p>
            <a:pPr marL="539750" lvl="1" indent="-276225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700" smtClean="0">
                <a:latin typeface="Arial" charset="0"/>
                <a:cs typeface="Arial" charset="0"/>
              </a:rPr>
              <a:t>they are satisfied that the landlord is competent, trustworthy, and substantial</a:t>
            </a:r>
            <a:endParaRPr lang="en-NZ" sz="17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Wingdings" pitchFamily="2" charset="2"/>
              <a:buChar char="§"/>
            </a:pPr>
            <a:endParaRPr lang="en-NZ" sz="1800" smtClean="0">
              <a:latin typeface="Arial" charset="0"/>
              <a:cs typeface="Arial" charset="0"/>
            </a:endParaRPr>
          </a:p>
        </p:txBody>
      </p:sp>
      <p:sp>
        <p:nvSpPr>
          <p:cNvPr id="24580" name="Content Placeholder 3"/>
          <p:cNvSpPr>
            <a:spLocks noGrp="1"/>
          </p:cNvSpPr>
          <p:nvPr>
            <p:ph sz="quarter" idx="4"/>
          </p:nvPr>
        </p:nvSpPr>
        <p:spPr>
          <a:xfrm>
            <a:off x="4643438" y="2652713"/>
            <a:ext cx="4357687" cy="420528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2000" dirty="0" smtClean="0">
                <a:latin typeface="Arial" charset="0"/>
                <a:cs typeface="Arial" charset="0"/>
              </a:rPr>
              <a:t>International tenants</a:t>
            </a:r>
          </a:p>
          <a:p>
            <a:pPr marL="587375" lvl="1" indent="-184150" eaLnBrk="1" hangingPunct="1"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US" altLang="zh-CN" sz="1800" dirty="0" smtClean="0">
                <a:latin typeface="Arial" pitchFamily="34" charset="0"/>
                <a:ea typeface="宋体" pitchFamily="2" charset="-122"/>
                <a:cs typeface="Arial" pitchFamily="34" charset="0"/>
              </a:rPr>
              <a:t>Strongly resistant to gross</a:t>
            </a:r>
          </a:p>
          <a:p>
            <a:pPr marL="587375" lvl="1" indent="-184150" eaLnBrk="1" hangingPunct="1"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US" altLang="zh-CN" sz="1800" dirty="0" smtClean="0">
                <a:latin typeface="Arial" pitchFamily="34" charset="0"/>
                <a:ea typeface="宋体" pitchFamily="2" charset="-122"/>
                <a:cs typeface="Arial" pitchFamily="34" charset="0"/>
              </a:rPr>
              <a:t>Wouldn’t accept gross even offered </a:t>
            </a: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endParaRPr lang="en-NZ" sz="2000" dirty="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2000" dirty="0" smtClean="0">
                <a:latin typeface="Arial" charset="0"/>
                <a:cs typeface="Arial" charset="0"/>
              </a:rPr>
              <a:t>National tenants</a:t>
            </a:r>
          </a:p>
          <a:p>
            <a:pPr marL="503238" lvl="1" indent="-182563" eaLnBrk="1" hangingPunct="1"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US" altLang="zh-CN" sz="1800" dirty="0" smtClean="0">
                <a:latin typeface="Arial" pitchFamily="34" charset="0"/>
                <a:ea typeface="宋体" pitchFamily="2" charset="-122"/>
                <a:cs typeface="Arial" pitchFamily="34" charset="0"/>
              </a:rPr>
              <a:t>More flexible</a:t>
            </a:r>
          </a:p>
          <a:p>
            <a:pPr marL="503238" lvl="1" indent="-182563" eaLnBrk="1" hangingPunct="1"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US" altLang="zh-CN" sz="1800" dirty="0" smtClean="0">
                <a:latin typeface="Arial" pitchFamily="34" charset="0"/>
                <a:ea typeface="宋体" pitchFamily="2" charset="-122"/>
                <a:cs typeface="Arial" pitchFamily="34" charset="0"/>
              </a:rPr>
              <a:t>Willing to consider gross as an option, but would be cautious </a:t>
            </a: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ts val="0"/>
              </a:spcBef>
              <a:buClrTx/>
              <a:buSzPct val="100000"/>
              <a:buFont typeface="Wingdings" pitchFamily="2" charset="2"/>
              <a:buChar char="§"/>
              <a:defRPr/>
            </a:pPr>
            <a:endParaRPr lang="en-NZ" sz="2000" dirty="0" smtClean="0">
              <a:latin typeface="Arial" charset="0"/>
              <a:cs typeface="Arial" charset="0"/>
            </a:endParaRPr>
          </a:p>
        </p:txBody>
      </p:sp>
      <p:sp>
        <p:nvSpPr>
          <p:cNvPr id="25605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76200" y="1752600"/>
            <a:ext cx="4495800" cy="750888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Public sector tenan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643438" y="1752600"/>
            <a:ext cx="4357687" cy="750888"/>
          </a:xfrm>
        </p:spPr>
        <p:txBody>
          <a:bodyPr/>
          <a:lstStyle/>
          <a:p>
            <a:pPr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vate sector tenants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428625" y="214313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en-NZ" b="1" dirty="0" smtClean="0">
                <a:solidFill>
                  <a:schemeClr val="tx1"/>
                </a:solidFill>
                <a:latin typeface="+mn-lt"/>
              </a:rPr>
              <a:t>Discussion and implications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571625"/>
            <a:ext cx="9144000" cy="5357813"/>
          </a:xfrm>
        </p:spPr>
        <p:txBody>
          <a:bodyPr/>
          <a:lstStyle/>
          <a:p>
            <a:pPr marL="360363" lvl="1" indent="-36036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2000" smtClean="0">
                <a:latin typeface="Arial" charset="0"/>
                <a:cs typeface="Arial" charset="0"/>
              </a:rPr>
              <a:t>Different lease structures have significant implications for financial outcomes (net returns) as well as non-financial outcomes of leases</a:t>
            </a:r>
          </a:p>
          <a:p>
            <a:pPr marL="360363" lvl="1" indent="-36036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2000" smtClean="0">
                <a:latin typeface="Arial" charset="0"/>
                <a:cs typeface="Arial" charset="0"/>
              </a:rPr>
              <a:t>Distinctive perceptions, leasing behaviours and experiences of landlords and tenants under different lease environments  </a:t>
            </a:r>
          </a:p>
          <a:p>
            <a:pPr marL="360363" lvl="1" indent="-36036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2000" smtClean="0">
                <a:latin typeface="Arial" charset="0"/>
                <a:cs typeface="Arial" charset="0"/>
              </a:rPr>
              <a:t>Despite landlords’ strong preference for fully recoverable net leases, they adopt more flexible leasing strategies with more desirable and more influential tenants in their portfolios  </a:t>
            </a:r>
          </a:p>
          <a:p>
            <a:pPr marL="635000" lvl="2" indent="-36036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altLang="zh-CN" sz="1700" smtClean="0">
                <a:latin typeface="Arial" charset="0"/>
                <a:ea typeface="宋体" pitchFamily="2" charset="-122"/>
                <a:cs typeface="Arial" charset="0"/>
              </a:rPr>
              <a:t>Power asymmetry could work in favour of either landlord or tenant depending on size and influence </a:t>
            </a:r>
          </a:p>
          <a:p>
            <a:pPr marL="635000" lvl="2" indent="-360363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altLang="zh-CN" sz="1700" smtClean="0">
                <a:latin typeface="Arial" charset="0"/>
                <a:ea typeface="宋体" pitchFamily="2" charset="-122"/>
                <a:cs typeface="Arial" charset="0"/>
              </a:rPr>
              <a:t>Balance of power between landlord  &amp; tenant  determines the nature of lease operation</a:t>
            </a: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US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US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US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US" sz="2000" smtClean="0">
              <a:latin typeface="Arial" charset="0"/>
              <a:cs typeface="Arial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Wingdings" pitchFamily="2" charset="2"/>
              <a:buChar char="§"/>
            </a:pPr>
            <a:endParaRPr lang="en-US" sz="20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612775" y="228600"/>
            <a:ext cx="8153400" cy="990600"/>
          </a:xfrm>
        </p:spPr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Discussion and implications </a:t>
            </a:r>
            <a:endParaRPr lang="en-NZ" smtClean="0"/>
          </a:p>
        </p:txBody>
      </p:sp>
      <p:sp>
        <p:nvSpPr>
          <p:cNvPr id="27651" name="Content Placeholder 2"/>
          <p:cNvSpPr>
            <a:spLocks noGrp="1"/>
          </p:cNvSpPr>
          <p:nvPr>
            <p:ph sz="quarter" idx="1"/>
          </p:nvPr>
        </p:nvSpPr>
        <p:spPr>
          <a:xfrm>
            <a:off x="285750" y="1643063"/>
            <a:ext cx="8623300" cy="5143500"/>
          </a:xfrm>
        </p:spPr>
        <p:txBody>
          <a:bodyPr/>
          <a:lstStyle/>
          <a:p>
            <a:pPr marL="319088" lvl="1" indent="-319088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ClrTx/>
              <a:buSzPct val="80000"/>
              <a:buFont typeface="Wingdings" pitchFamily="2" charset="2"/>
              <a:buChar char="§"/>
            </a:pPr>
            <a:r>
              <a:rPr lang="en-GB" sz="2000" smtClean="0">
                <a:latin typeface="Arial" charset="0"/>
                <a:cs typeface="Arial" charset="0"/>
              </a:rPr>
              <a:t>Major differences between the perceptions, behaviours and experiences of private and public sector tenants</a:t>
            </a:r>
            <a:r>
              <a:rPr lang="en-NZ" sz="2000" smtClean="0">
                <a:latin typeface="Arial" charset="0"/>
                <a:cs typeface="Arial" charset="0"/>
              </a:rPr>
              <a:t>, as well as international and national</a:t>
            </a:r>
            <a:r>
              <a:rPr lang="en-GB" sz="2000" smtClean="0">
                <a:latin typeface="Arial" charset="0"/>
                <a:cs typeface="Arial" charset="0"/>
              </a:rPr>
              <a:t> corporate tenants</a:t>
            </a:r>
            <a:endParaRPr lang="en-US" sz="2000" smtClean="0">
              <a:latin typeface="Arial" charset="0"/>
              <a:cs typeface="Arial" charset="0"/>
            </a:endParaRPr>
          </a:p>
          <a:p>
            <a:pPr marL="319088" lvl="1" indent="-319088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ClrTx/>
              <a:buSzPct val="80000"/>
              <a:buFont typeface="Wingdings" pitchFamily="2" charset="2"/>
              <a:buChar char="§"/>
            </a:pPr>
            <a:r>
              <a:rPr lang="en-NZ" altLang="zh-CN" sz="2000" smtClean="0">
                <a:latin typeface="Arial" charset="0"/>
                <a:ea typeface="宋体" pitchFamily="2" charset="-122"/>
                <a:cs typeface="Arial" charset="0"/>
              </a:rPr>
              <a:t>Gaps between tenants’ lease requirements and those currently offered by landlords   </a:t>
            </a:r>
          </a:p>
          <a:p>
            <a:pPr marL="319088" lvl="1" indent="-319088"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ClrTx/>
              <a:buSzPct val="80000"/>
              <a:buFont typeface="Wingdings" pitchFamily="2" charset="2"/>
              <a:buChar char="§"/>
            </a:pPr>
            <a:r>
              <a:rPr lang="en-GB" sz="2000" smtClean="0">
                <a:latin typeface="Arial" charset="0"/>
                <a:cs typeface="Arial" charset="0"/>
              </a:rPr>
              <a:t>Importance of understanding the dynamics of key market agents that create lease environments and how these agents interact and behave within these contexts</a:t>
            </a:r>
            <a:endParaRPr lang="en-NZ" altLang="zh-CN" sz="2000" smtClean="0">
              <a:latin typeface="Arial" charset="0"/>
              <a:ea typeface="宋体" pitchFamily="2" charset="-122"/>
            </a:endParaRPr>
          </a:p>
          <a:p>
            <a:pPr>
              <a:lnSpc>
                <a:spcPct val="150000"/>
              </a:lnSpc>
              <a:spcBef>
                <a:spcPts val="900"/>
              </a:spcBef>
              <a:spcAft>
                <a:spcPts val="900"/>
              </a:spcAft>
              <a:buClrTx/>
              <a:buSzPct val="80000"/>
              <a:buFont typeface="Wingdings" pitchFamily="2" charset="2"/>
              <a:buChar char="§"/>
            </a:pPr>
            <a:endParaRPr lang="en-NZ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142875" y="228600"/>
            <a:ext cx="8929688" cy="990600"/>
          </a:xfrm>
        </p:spPr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Commercial property lease structures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sz="quarter" idx="1"/>
          </p:nvPr>
        </p:nvSpPr>
        <p:spPr>
          <a:xfrm>
            <a:off x="71438" y="1500188"/>
            <a:ext cx="9072562" cy="53578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2000" dirty="0" smtClean="0">
                <a:latin typeface="Arial" pitchFamily="34" charset="0"/>
                <a:cs typeface="Arial" pitchFamily="34" charset="0"/>
              </a:rPr>
              <a:t>Commercial lease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1800" dirty="0" smtClean="0">
                <a:latin typeface="Arial" pitchFamily="34" charset="0"/>
                <a:cs typeface="Arial" pitchFamily="34" charset="0"/>
              </a:rPr>
              <a:t>Should be responsive to the requirements of both landlords &amp; tenants </a:t>
            </a:r>
            <a:r>
              <a:rPr lang="en-NZ" sz="1400" dirty="0" smtClean="0">
                <a:latin typeface="Arial" pitchFamily="34" charset="0"/>
                <a:cs typeface="Arial" pitchFamily="34" charset="0"/>
              </a:rPr>
              <a:t>(Jaffe and Yang, 1997)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1800" dirty="0" smtClean="0">
                <a:latin typeface="Arial" pitchFamily="34" charset="0"/>
                <a:cs typeface="Arial" pitchFamily="34" charset="0"/>
              </a:rPr>
              <a:t>Landlords’ and tenants’ different lease objectives can cause tension in the operation of leases </a:t>
            </a:r>
            <a:r>
              <a:rPr lang="en-NZ" sz="1400" dirty="0" smtClean="0">
                <a:latin typeface="Arial" pitchFamily="34" charset="0"/>
                <a:cs typeface="Arial" pitchFamily="34" charset="0"/>
              </a:rPr>
              <a:t>(Crosby et al., 2006)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1800" dirty="0" smtClean="0">
                <a:latin typeface="Arial" pitchFamily="34" charset="0"/>
                <a:cs typeface="Arial" pitchFamily="34" charset="0"/>
              </a:rPr>
              <a:t>Landlords attempt to enforce strongly pro-landlord lease forms by being inflexible towards tenant requirements </a:t>
            </a:r>
            <a:r>
              <a:rPr lang="en-NZ" sz="1400" dirty="0" smtClean="0">
                <a:latin typeface="Arial" pitchFamily="34" charset="0"/>
                <a:cs typeface="Arial" pitchFamily="34" charset="0"/>
              </a:rPr>
              <a:t>(Crosby et al., 2006; Crosby et al., 2003; Dunn, 2003; </a:t>
            </a:r>
            <a:r>
              <a:rPr lang="en-NZ" sz="1400" dirty="0" err="1" smtClean="0">
                <a:latin typeface="Arial" pitchFamily="34" charset="0"/>
                <a:cs typeface="Arial" pitchFamily="34" charset="0"/>
              </a:rPr>
              <a:t>Lizieri</a:t>
            </a:r>
            <a:r>
              <a:rPr lang="en-NZ" sz="1400" dirty="0" smtClean="0">
                <a:latin typeface="Arial" pitchFamily="34" charset="0"/>
                <a:cs typeface="Arial" pitchFamily="34" charset="0"/>
              </a:rPr>
              <a:t> et al., 1997; </a:t>
            </a:r>
            <a:r>
              <a:rPr lang="en-NZ" sz="1400" dirty="0" err="1" smtClean="0">
                <a:latin typeface="Arial" pitchFamily="34" charset="0"/>
                <a:cs typeface="Arial" pitchFamily="34" charset="0"/>
              </a:rPr>
              <a:t>Saltz</a:t>
            </a:r>
            <a:r>
              <a:rPr lang="en-NZ" sz="1400" dirty="0" smtClean="0">
                <a:latin typeface="Arial" pitchFamily="34" charset="0"/>
                <a:cs typeface="Arial" pitchFamily="34" charset="0"/>
              </a:rPr>
              <a:t>, 1990) 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 2" pitchFamily="18" charset="2"/>
              <a:buNone/>
              <a:defRPr/>
            </a:pPr>
            <a:endParaRPr lang="en-NZ" sz="14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2000" dirty="0" smtClean="0">
                <a:latin typeface="Arial" pitchFamily="34" charset="0"/>
                <a:cs typeface="Arial" pitchFamily="34" charset="0"/>
              </a:rPr>
              <a:t>Importance of in-depth understanding of commercial leases</a:t>
            </a:r>
          </a:p>
          <a:p>
            <a:pPr marL="593725" lvl="2" indent="-319088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1800" dirty="0" smtClean="0">
                <a:latin typeface="Arial" charset="0"/>
              </a:rPr>
              <a:t>Diversity of lease structures in the market </a:t>
            </a:r>
            <a:r>
              <a:rPr lang="en-NZ" sz="1400" dirty="0" smtClean="0">
                <a:latin typeface="Arial" charset="0"/>
              </a:rPr>
              <a:t>(Parker and Robinson, 2000)</a:t>
            </a:r>
          </a:p>
          <a:p>
            <a:pPr marL="593725" lvl="2" indent="-319088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r>
              <a:rPr lang="en-NZ" sz="1800" dirty="0" smtClean="0">
                <a:latin typeface="Arial" charset="0"/>
              </a:rPr>
              <a:t>Different leases shift the risks and opportunities between the landlord &amp; tenant </a:t>
            </a:r>
            <a:r>
              <a:rPr lang="en-NZ" sz="1400" dirty="0" smtClean="0">
                <a:latin typeface="Arial" charset="0"/>
              </a:rPr>
              <a:t>(Rowland, 2000)</a:t>
            </a:r>
          </a:p>
          <a:p>
            <a:pPr marL="319088" lvl="1" indent="-319088"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endParaRPr lang="en-NZ" sz="2200" dirty="0" smtClean="0">
              <a:latin typeface="Arial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100000"/>
              <a:buFont typeface="Wingdings" pitchFamily="2" charset="2"/>
              <a:buChar char="§"/>
              <a:defRPr/>
            </a:pPr>
            <a:endParaRPr lang="en-NZ" sz="22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12775" y="228600"/>
            <a:ext cx="8153400" cy="990600"/>
          </a:xfrm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28675" name="Rectangle 3"/>
          <p:cNvSpPr>
            <a:spLocks noGrp="1" noChangeArrowheads="1"/>
          </p:cNvSpPr>
          <p:nvPr>
            <p:ph sz="quarter" idx="1"/>
          </p:nvPr>
        </p:nvSpPr>
        <p:spPr>
          <a:xfrm>
            <a:off x="0" y="2133600"/>
            <a:ext cx="8229600" cy="3529013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smtClean="0"/>
          </a:p>
        </p:txBody>
      </p:sp>
      <p:sp>
        <p:nvSpPr>
          <p:cNvPr id="28676" name="WordArt 5"/>
          <p:cNvSpPr>
            <a:spLocks noChangeArrowheads="1" noChangeShapeType="1" noTextEdit="1"/>
          </p:cNvSpPr>
          <p:nvPr/>
        </p:nvSpPr>
        <p:spPr bwMode="auto">
          <a:xfrm>
            <a:off x="2195513" y="2924175"/>
            <a:ext cx="5402262" cy="1803400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32056"/>
              </a:avLst>
            </a:prstTxWarp>
          </a:bodyPr>
          <a:lstStyle/>
          <a:p>
            <a:pPr algn="ctr"/>
            <a:r>
              <a:rPr lang="en-NZ" sz="3600" kern="10">
                <a:ln w="6350">
                  <a:solidFill>
                    <a:schemeClr val="bg2"/>
                  </a:solidFill>
                  <a:round/>
                  <a:headEnd/>
                  <a:tailEnd/>
                </a:ln>
                <a:solidFill>
                  <a:schemeClr val="accent1"/>
                </a:solidFill>
                <a:latin typeface="Impact"/>
              </a:rPr>
              <a:t>Thank you 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71438" y="228600"/>
            <a:ext cx="9144000" cy="990600"/>
          </a:xfrm>
        </p:spPr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Related commercial leasing literature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sz="quarter" idx="1"/>
          </p:nvPr>
        </p:nvSpPr>
        <p:spPr>
          <a:xfrm>
            <a:off x="71438" y="1743075"/>
            <a:ext cx="9001125" cy="5186363"/>
          </a:xfrm>
        </p:spPr>
        <p:txBody>
          <a:bodyPr/>
          <a:lstStyle/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Largely focused on financial characteristics of leases and the effect of various lease covenants on investment returns </a:t>
            </a:r>
            <a:r>
              <a:rPr lang="en-NZ" sz="1400" smtClean="0">
                <a:latin typeface="Arial" charset="0"/>
                <a:cs typeface="Arial" charset="0"/>
              </a:rPr>
              <a:t>(Adair et al., 1994; Hamilton et al., 2006; Turner and Thomas, 2001a, Turner and Thomas, 2001b)</a:t>
            </a:r>
          </a:p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Evaluation of alternative lease structures are dominated by financial-qualitative aspects of leases </a:t>
            </a:r>
            <a:r>
              <a:rPr lang="en-NZ" sz="1400" smtClean="0">
                <a:latin typeface="Arial" charset="0"/>
                <a:cs typeface="Arial" charset="0"/>
              </a:rPr>
              <a:t>(Metawa, 1995)</a:t>
            </a:r>
          </a:p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Behaviour of market participants determines the nature of property market operations </a:t>
            </a:r>
            <a:r>
              <a:rPr lang="en-NZ" sz="1400" smtClean="0">
                <a:latin typeface="Arial" charset="0"/>
                <a:cs typeface="Arial" charset="0"/>
              </a:rPr>
              <a:t>(Daly et al., 2003; Diaz III, 2000; Diaz III, 1999; Hardin III, 1999; Levy and Henry, 2003) </a:t>
            </a:r>
          </a:p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The application of behavioural interpretations in property literature is limited to property valuation issues </a:t>
            </a:r>
            <a:r>
              <a:rPr lang="en-NZ" sz="1400" smtClean="0">
                <a:latin typeface="Arial" charset="0"/>
                <a:cs typeface="Arial" charset="0"/>
              </a:rPr>
              <a:t>(Leishman and Watkins, 2004; Roberts and Henneberry, 2007)</a:t>
            </a:r>
          </a:p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Little attention is given to understanding the impact of different lease forms on the behaviours and experiences of key market agents in leasing    </a:t>
            </a:r>
          </a:p>
          <a:p>
            <a:pPr>
              <a:spcBef>
                <a:spcPts val="1600"/>
              </a:spcBef>
              <a:spcAft>
                <a:spcPts val="1600"/>
              </a:spcAft>
              <a:buClrTx/>
              <a:buSzPct val="100000"/>
              <a:buFont typeface="Wingdings" pitchFamily="2" charset="2"/>
              <a:buChar char="§"/>
            </a:pPr>
            <a:endParaRPr lang="en-NZ" sz="20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57625" y="1308100"/>
            <a:ext cx="5149850" cy="5407025"/>
          </a:xfrm>
          <a:prstGeom prst="rect">
            <a:avLst/>
          </a:prstGeom>
          <a:solidFill>
            <a:srgbClr val="FFFFFF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50000"/>
              </a:lnSpc>
            </a:pPr>
            <a:endParaRPr lang="en-NZ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22238" y="293688"/>
            <a:ext cx="8793162" cy="706437"/>
          </a:xfrm>
        </p:spPr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solidFill>
                  <a:schemeClr val="tx1"/>
                </a:solidFill>
                <a:latin typeface="+mn-lt"/>
              </a:rPr>
              <a:t>Purpose of study </a:t>
            </a:r>
          </a:p>
        </p:txBody>
      </p:sp>
      <p:sp>
        <p:nvSpPr>
          <p:cNvPr id="1029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2400" y="2060575"/>
            <a:ext cx="3705225" cy="3940175"/>
          </a:xfrm>
          <a:prstGeom prst="homePlate">
            <a:avLst>
              <a:gd name="adj" fmla="val 8736"/>
            </a:avLst>
          </a:prstGeom>
          <a:solidFill>
            <a:srgbClr val="FFFFFF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NZ"/>
          </a:p>
        </p:txBody>
      </p:sp>
      <p:sp>
        <p:nvSpPr>
          <p:cNvPr id="12800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688" y="2205038"/>
            <a:ext cx="3063875" cy="3698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342900">
              <a:spcBef>
                <a:spcPct val="20000"/>
              </a:spcBef>
              <a:buClr>
                <a:schemeClr val="hlink"/>
              </a:buClr>
              <a:buSzPct val="65000"/>
              <a:buFont typeface="Wingdings" pitchFamily="2" charset="2"/>
              <a:buNone/>
              <a:defRPr/>
            </a:pPr>
            <a:r>
              <a:rPr lang="de-DE" sz="24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Research aim</a:t>
            </a:r>
          </a:p>
        </p:txBody>
      </p:sp>
      <p:sp>
        <p:nvSpPr>
          <p:cNvPr id="1031" name="Text Box 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51363" y="1476375"/>
            <a:ext cx="3913187" cy="4635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marL="266700" indent="-266700" defTabSz="933450">
              <a:spcBef>
                <a:spcPct val="40000"/>
              </a:spcBef>
              <a:buFont typeface="Wingdings" pitchFamily="2" charset="2"/>
              <a:buNone/>
            </a:pPr>
            <a:r>
              <a:rPr lang="en-NZ" sz="2400" b="1"/>
              <a:t>Research questions   </a:t>
            </a:r>
          </a:p>
        </p:txBody>
      </p:sp>
      <p:sp>
        <p:nvSpPr>
          <p:cNvPr id="1032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57625" y="1304925"/>
            <a:ext cx="5072063" cy="544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marL="266700" indent="-266700" defTabSz="933450">
              <a:spcBef>
                <a:spcPct val="40000"/>
              </a:spcBef>
              <a:buSzPct val="60000"/>
              <a:buFont typeface="Wingdings" pitchFamily="2" charset="2"/>
              <a:buNone/>
            </a:pPr>
            <a:endParaRPr lang="en-NZ" b="1"/>
          </a:p>
          <a:p>
            <a:pPr marL="266700" indent="-266700" defTabSz="933450">
              <a:spcBef>
                <a:spcPct val="40000"/>
              </a:spcBef>
              <a:buSzPct val="60000"/>
              <a:buFont typeface="Wingdings" pitchFamily="2" charset="2"/>
              <a:buChar char="n"/>
            </a:pPr>
            <a:endParaRPr lang="en-NZ"/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r>
              <a:rPr lang="en-NZ" sz="1900"/>
              <a:t>Do landlords and tenants have different perceptions of gross &amp; net lease structures?</a:t>
            </a:r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r>
              <a:rPr lang="en-NZ" sz="1900"/>
              <a:t>Are there any differences in the behaviours and experiences of landlords and tenants under gross &amp; net leases?</a:t>
            </a:r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r>
              <a:rPr lang="en-NZ" sz="1900"/>
              <a:t>What are the key issues confronting them under gross &amp; net leases?  </a:t>
            </a:r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r>
              <a:rPr lang="en-NZ" sz="1700"/>
              <a:t>Do lease structures have any impact on the financial and non-financial characteristics of leases? </a:t>
            </a:r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26" r:id="rId11" imgW="0" imgH="0" progId="TCLayout.ActiveDocument">
              <p:embed/>
            </p:oleObj>
          </a:graphicData>
        </a:graphic>
      </p:graphicFrame>
      <p:sp>
        <p:nvSpPr>
          <p:cNvPr id="1033" name="Text Box 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90500" y="2278063"/>
            <a:ext cx="3381375" cy="360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marL="266700" indent="-266700" defTabSz="933450">
              <a:spcBef>
                <a:spcPct val="40000"/>
              </a:spcBef>
              <a:buSzPct val="60000"/>
              <a:buFont typeface="Wingdings" pitchFamily="2" charset="2"/>
              <a:buNone/>
            </a:pPr>
            <a:endParaRPr lang="en-NZ" b="1"/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endParaRPr lang="en-NZ" sz="2000" b="1"/>
          </a:p>
          <a:p>
            <a:pPr marL="266700" indent="-266700" defTabSz="933450">
              <a:lnSpc>
                <a:spcPct val="150000"/>
              </a:lnSpc>
              <a:buSzPct val="60000"/>
              <a:buFont typeface="Wingdings" pitchFamily="2" charset="2"/>
              <a:buChar char="n"/>
            </a:pPr>
            <a:r>
              <a:rPr lang="en-NZ" sz="2000" b="1"/>
              <a:t>Examine the effect of different lease structures on landlord-tenant  behaviours and experiences (Gross versus net leases)</a:t>
            </a:r>
            <a:endParaRPr lang="en-NZ" sz="1700" b="1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285750" y="142875"/>
            <a:ext cx="84121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Research focus </a:t>
            </a:r>
            <a:endParaRPr lang="en-US" dirty="0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sz="quarter" idx="1"/>
          </p:nvPr>
        </p:nvSpPr>
        <p:spPr>
          <a:xfrm>
            <a:off x="71438" y="1643063"/>
            <a:ext cx="9144000" cy="5357812"/>
          </a:xfrm>
        </p:spPr>
        <p:txBody>
          <a:bodyPr/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2000" b="1" smtClean="0">
                <a:latin typeface="Arial" charset="0"/>
              </a:rPr>
              <a:t>Significant leasing environment in New Zealand 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800" smtClean="0">
                <a:latin typeface="Arial" charset="0"/>
              </a:rPr>
              <a:t>Auckland (commercial capital) – mainly net, private sector dominated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800" smtClean="0">
                <a:latin typeface="Arial" charset="0"/>
              </a:rPr>
              <a:t>Wellington (political capital) – mainly gross, public sector dominated (41%)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2000" b="1" smtClean="0">
                <a:latin typeface="Arial" charset="0"/>
              </a:rPr>
              <a:t>Lease structures examined 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</a:rPr>
              <a:t>Gross lease – landlord pays directly for OPEX without separate charge to the tenant 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</a:rPr>
              <a:t>Net lease – tenant to pay all or portion of the landlord’s property expenses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2000" b="1" smtClean="0">
                <a:latin typeface="Arial" charset="0"/>
              </a:rPr>
              <a:t>Property sector examined 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</a:rPr>
              <a:t>Prime office sector in New Zealand </a:t>
            </a:r>
            <a:r>
              <a:rPr lang="en-US" sz="1700" b="1" smtClean="0">
                <a:latin typeface="Arial" charset="0"/>
              </a:rPr>
              <a:t> 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2000" b="1" smtClean="0">
                <a:latin typeface="Arial" charset="0"/>
              </a:rPr>
              <a:t>Study sample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</a:rPr>
              <a:t>Landlords – New Zealand’s listed property trust sector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</a:rPr>
              <a:t>Tenants – Major  tenants of the properties owned by NZLPTs (in Auckland &amp; Wellington)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endParaRPr lang="en-US" sz="2000" smtClean="0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None/>
            </a:pPr>
            <a:endParaRPr lang="en-US" sz="2000" smtClean="0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None/>
            </a:pPr>
            <a:endParaRPr lang="en-US" sz="2000" smtClean="0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endParaRPr lang="en-US" sz="2000" smtClean="0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endParaRPr lang="en-US" sz="2000" smtClean="0">
              <a:latin typeface="Arial" charset="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ClrTx/>
              <a:buSzPct val="105000"/>
              <a:buFont typeface="Wingdings" pitchFamily="2" charset="2"/>
              <a:buChar char="§"/>
            </a:pPr>
            <a:endParaRPr lang="en-US" sz="2000" smtClean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480425" cy="990600"/>
          </a:xfrm>
        </p:spPr>
        <p:txBody>
          <a:bodyPr/>
          <a:lstStyle/>
          <a:p>
            <a:r>
              <a:rPr lang="en-NZ" b="1" smtClean="0">
                <a:solidFill>
                  <a:schemeClr val="tx1"/>
                </a:solidFill>
              </a:rPr>
              <a:t>Research methodology – Landlords 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sz="quarter" idx="1"/>
          </p:nvPr>
        </p:nvSpPr>
        <p:spPr>
          <a:xfrm>
            <a:off x="0" y="1500188"/>
            <a:ext cx="9144000" cy="5210175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  <a:buClrTx/>
              <a:buSzPct val="8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Survey sample – NZ Listed Property Trusts</a:t>
            </a:r>
          </a:p>
          <a:p>
            <a:pPr lvl="1">
              <a:lnSpc>
                <a:spcPct val="150000"/>
              </a:lnSpc>
              <a:spcBef>
                <a:spcPct val="0"/>
              </a:spcBef>
              <a:buClrTx/>
              <a:buSzPct val="80000"/>
              <a:buFont typeface="Wingdings" pitchFamily="2" charset="2"/>
              <a:buChar char="§"/>
            </a:pPr>
            <a:r>
              <a:rPr lang="en-NZ" sz="1600" smtClean="0">
                <a:latin typeface="Arial" charset="0"/>
                <a:cs typeface="Arial" charset="0"/>
              </a:rPr>
              <a:t>Total portfolio value – NZ$7.377 billion, Market capitalization – NZ$3.6 billion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8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Data collection method – in-depth interviews</a:t>
            </a:r>
          </a:p>
          <a:p>
            <a:pPr>
              <a:lnSpc>
                <a:spcPct val="150000"/>
              </a:lnSpc>
              <a:spcBef>
                <a:spcPct val="0"/>
              </a:spcBef>
              <a:buClrTx/>
              <a:buSzPct val="80000"/>
              <a:buFont typeface="Wingdings" pitchFamily="2" charset="2"/>
              <a:buChar char="§"/>
            </a:pPr>
            <a:r>
              <a:rPr lang="en-NZ" sz="1900" smtClean="0">
                <a:latin typeface="Arial" charset="0"/>
                <a:cs typeface="Arial" charset="0"/>
              </a:rPr>
              <a:t>Interview participants – 6 portfolio managers attached to the top 3 NZLPTs 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42875" y="3454400"/>
          <a:ext cx="8929687" cy="3190020"/>
        </p:xfrm>
        <a:graphic>
          <a:graphicData uri="http://schemas.openxmlformats.org/drawingml/2006/table">
            <a:tbl>
              <a:tblPr/>
              <a:tblGrid>
                <a:gridCol w="1214446"/>
                <a:gridCol w="2714644"/>
                <a:gridCol w="1857388"/>
                <a:gridCol w="1445797"/>
                <a:gridCol w="1697412"/>
              </a:tblGrid>
              <a:tr h="571504"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endParaRPr lang="en-GB" sz="1400" dirty="0" smtClean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Interviewee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endParaRPr lang="en-GB" sz="1400" dirty="0" smtClean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  <a:p>
                      <a:pPr algn="just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Job 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Title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Value of the 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ortfolio 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managed ($m)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Total NLA  managed (m</a:t>
                      </a:r>
                      <a:r>
                        <a:rPr lang="en-GB" sz="1400" baseline="300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2</a:t>
                      </a: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)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Type of office properties owned 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588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National Commercial Portfolio Manager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856.17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70,968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ime quality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6257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2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Wellington Portfolio Manager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817.45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46,046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ime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165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3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Auckland Portfolio Manager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751.50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06,889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ime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588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4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General Manager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390.00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17,810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ime + Secondary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588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5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National Asset Manager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540.44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44,028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ime + Secondary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2330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6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Asset Manager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650.13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90,598</a:t>
                      </a:r>
                      <a:endParaRPr lang="en-NZ" sz="140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Mainly Prime </a:t>
                      </a:r>
                      <a:endParaRPr lang="en-NZ" sz="1400" dirty="0">
                        <a:solidFill>
                          <a:schemeClr val="tx1"/>
                        </a:solidFill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68324" marR="6832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33350"/>
            <a:ext cx="9021763" cy="1152525"/>
          </a:xfrm>
        </p:spPr>
        <p:txBody>
          <a:bodyPr/>
          <a:lstStyle/>
          <a:p>
            <a:pPr eaLnBrk="1" hangingPunct="1"/>
            <a:r>
              <a:rPr lang="en-US" sz="3200" b="1" smtClean="0">
                <a:solidFill>
                  <a:schemeClr val="tx1"/>
                </a:solidFill>
                <a:latin typeface="Arial Black" pitchFamily="34" charset="0"/>
              </a:rPr>
              <a:t>Research methodology – Major tenants </a:t>
            </a:r>
            <a:endParaRPr lang="de-DE" sz="3200" smtClean="0"/>
          </a:p>
        </p:txBody>
      </p:sp>
      <p:sp>
        <p:nvSpPr>
          <p:cNvPr id="15363" name="Rectangle 9"/>
          <p:cNvSpPr>
            <a:spLocks noChangeArrowheads="1"/>
          </p:cNvSpPr>
          <p:nvPr/>
        </p:nvSpPr>
        <p:spPr bwMode="auto">
          <a:xfrm>
            <a:off x="2743200" y="2925763"/>
            <a:ext cx="5143500" cy="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endParaRPr lang="en-NZ"/>
          </a:p>
        </p:txBody>
      </p:sp>
      <p:sp>
        <p:nvSpPr>
          <p:cNvPr id="15364" name="Rectangle 26"/>
          <p:cNvSpPr>
            <a:spLocks noChangeArrowheads="1"/>
          </p:cNvSpPr>
          <p:nvPr/>
        </p:nvSpPr>
        <p:spPr bwMode="auto">
          <a:xfrm>
            <a:off x="2500313" y="2176463"/>
            <a:ext cx="492125" cy="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endParaRPr lang="en-NZ"/>
          </a:p>
        </p:txBody>
      </p:sp>
      <p:graphicFrame>
        <p:nvGraphicFramePr>
          <p:cNvPr id="260301" name="Group 205"/>
          <p:cNvGraphicFramePr>
            <a:graphicFrameLocks noGrp="1"/>
          </p:cNvGraphicFramePr>
          <p:nvPr/>
        </p:nvGraphicFramePr>
        <p:xfrm>
          <a:off x="214313" y="1785938"/>
          <a:ext cx="8750361" cy="1785950"/>
        </p:xfrm>
        <a:graphic>
          <a:graphicData uri="http://schemas.openxmlformats.org/drawingml/2006/table">
            <a:tbl>
              <a:tblPr/>
              <a:tblGrid>
                <a:gridCol w="2286045"/>
                <a:gridCol w="1857388"/>
                <a:gridCol w="2571739"/>
                <a:gridCol w="2035189"/>
              </a:tblGrid>
              <a:tr h="252413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enant  survey – Major tenants of LPTs 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</a:tr>
              <a:tr h="379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ata Collection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esponse rate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ature of tenants 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Data analysis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8715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36 surveys sent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Auckland – 13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Wellington - 99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141288" algn="l"/>
                        </a:tabLst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5 returne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141288" algn="l"/>
                        </a:tabLst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141288" algn="l"/>
                        </a:tabLst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verall –  38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ubic – 23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national – 19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Z national – 23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tatistical analysis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5384" name="Rectangle 90"/>
          <p:cNvSpPr>
            <a:spLocks noChangeArrowheads="1"/>
          </p:cNvSpPr>
          <p:nvPr/>
        </p:nvSpPr>
        <p:spPr bwMode="auto">
          <a:xfrm>
            <a:off x="2700338" y="1989138"/>
            <a:ext cx="5159375" cy="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endParaRPr lang="en-NZ"/>
          </a:p>
        </p:txBody>
      </p:sp>
      <p:sp>
        <p:nvSpPr>
          <p:cNvPr id="15385" name="Rectangle 92"/>
          <p:cNvSpPr>
            <a:spLocks noChangeArrowheads="1"/>
          </p:cNvSpPr>
          <p:nvPr/>
        </p:nvSpPr>
        <p:spPr bwMode="auto">
          <a:xfrm>
            <a:off x="2706688" y="1976438"/>
            <a:ext cx="492125" cy="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endParaRPr lang="en-NZ"/>
          </a:p>
        </p:txBody>
      </p:sp>
      <p:graphicFrame>
        <p:nvGraphicFramePr>
          <p:cNvPr id="260297" name="Group 201"/>
          <p:cNvGraphicFramePr>
            <a:graphicFrameLocks noGrp="1"/>
          </p:cNvGraphicFramePr>
          <p:nvPr/>
        </p:nvGraphicFramePr>
        <p:xfrm>
          <a:off x="214313" y="3856038"/>
          <a:ext cx="8715465" cy="2150606"/>
        </p:xfrm>
        <a:graphic>
          <a:graphicData uri="http://schemas.openxmlformats.org/drawingml/2006/table">
            <a:tbl>
              <a:tblPr/>
              <a:tblGrid>
                <a:gridCol w="2357454"/>
                <a:gridCol w="4357718"/>
                <a:gridCol w="2000293"/>
              </a:tblGrid>
              <a:tr h="306931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emi-structured, in-depth interviews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</a:tr>
              <a:tr h="5301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ata Collectio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rticipant profil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utpu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2362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public sector tenant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private sector tenant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ational property manager – 1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neral manager (property &amp; operations) – 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rector, corporate services – 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enior property managers – 3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be and explore the survey findings in more dept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5402" name="Rectangle 160"/>
          <p:cNvSpPr>
            <a:spLocks noChangeArrowheads="1"/>
          </p:cNvSpPr>
          <p:nvPr/>
        </p:nvSpPr>
        <p:spPr bwMode="auto">
          <a:xfrm>
            <a:off x="2500313" y="3108325"/>
            <a:ext cx="5143500" cy="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endParaRPr lang="en-NZ"/>
          </a:p>
        </p:txBody>
      </p:sp>
      <p:graphicFrame>
        <p:nvGraphicFramePr>
          <p:cNvPr id="260298" name="Group 202"/>
          <p:cNvGraphicFramePr>
            <a:graphicFrameLocks noGrp="1"/>
          </p:cNvGraphicFramePr>
          <p:nvPr/>
        </p:nvGraphicFramePr>
        <p:xfrm>
          <a:off x="214313" y="6286500"/>
          <a:ext cx="8715436" cy="500042"/>
        </p:xfrm>
        <a:graphic>
          <a:graphicData uri="http://schemas.openxmlformats.org/drawingml/2006/table">
            <a:tbl>
              <a:tblPr/>
              <a:tblGrid>
                <a:gridCol w="8715436"/>
              </a:tblGrid>
              <a:tr h="5000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onclusion – </a:t>
                      </a:r>
                      <a:r>
                        <a:rPr kumimoji="0" lang="en-GB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Integration of the findings of the two approaches </a:t>
                      </a: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cxnSp>
        <p:nvCxnSpPr>
          <p:cNvPr id="24" name="Straight Arrow Connector 23"/>
          <p:cNvCxnSpPr/>
          <p:nvPr/>
        </p:nvCxnSpPr>
        <p:spPr>
          <a:xfrm rot="5400000">
            <a:off x="4142582" y="3713956"/>
            <a:ext cx="285750" cy="1587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rot="5400000">
            <a:off x="4072732" y="6142831"/>
            <a:ext cx="285750" cy="1587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0" y="273050"/>
            <a:ext cx="9144000" cy="869950"/>
          </a:xfrm>
        </p:spPr>
        <p:txBody>
          <a:bodyPr/>
          <a:lstStyle/>
          <a:p>
            <a:r>
              <a:rPr lang="en-NZ" sz="4200" b="1" smtClean="0">
                <a:solidFill>
                  <a:schemeClr val="tx1"/>
                </a:solidFill>
              </a:rPr>
              <a:t>Findings - Tenant perceptions of leases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sz="quarter" idx="2"/>
          </p:nvPr>
        </p:nvSpPr>
        <p:spPr>
          <a:xfrm>
            <a:off x="142875" y="2828925"/>
            <a:ext cx="3857625" cy="4029075"/>
          </a:xfrm>
        </p:spPr>
        <p:txBody>
          <a:bodyPr/>
          <a:lstStyle/>
          <a:p>
            <a:pPr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eferred lease type – gross lease  </a:t>
            </a:r>
          </a:p>
          <a:p>
            <a:pPr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Current lease types – mainly gross even in Auckland  </a:t>
            </a:r>
          </a:p>
          <a:p>
            <a:pPr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iority – certainty in the TOC. Financially constrained by budgetary requirements</a:t>
            </a:r>
          </a:p>
          <a:p>
            <a:pPr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Strong negotiation power </a:t>
            </a:r>
          </a:p>
          <a:p>
            <a:pPr lvl="1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500" smtClean="0">
                <a:latin typeface="Arial" charset="0"/>
                <a:cs typeface="Arial" charset="0"/>
              </a:rPr>
              <a:t>Act together under the direction of State Services Commission &amp; the Treasury in leasing activities</a:t>
            </a:r>
          </a:p>
          <a:p>
            <a:pPr defTabSz="933450">
              <a:lnSpc>
                <a:spcPct val="150000"/>
              </a:lnSpc>
              <a:spcBef>
                <a:spcPct val="0"/>
              </a:spcBef>
              <a:buClrTx/>
              <a:buSzPct val="110000"/>
            </a:pPr>
            <a:endParaRPr lang="en-NZ" sz="1700" smtClean="0"/>
          </a:p>
        </p:txBody>
      </p:sp>
      <p:sp>
        <p:nvSpPr>
          <p:cNvPr id="16388" name="Content Placeholder 3"/>
          <p:cNvSpPr>
            <a:spLocks noGrp="1"/>
          </p:cNvSpPr>
          <p:nvPr>
            <p:ph sz="quarter" idx="4"/>
          </p:nvPr>
        </p:nvSpPr>
        <p:spPr>
          <a:xfrm>
            <a:off x="4071938" y="2828925"/>
            <a:ext cx="5072062" cy="4029075"/>
          </a:xfrm>
        </p:spPr>
        <p:txBody>
          <a:bodyPr/>
          <a:lstStyle/>
          <a:p>
            <a:pPr marL="179388" lvl="1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eferred lease type – net lease</a:t>
            </a:r>
          </a:p>
          <a:p>
            <a:pPr marL="179388" lvl="1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Current lease types – mainly net, some gross leases in Wellington </a:t>
            </a:r>
          </a:p>
          <a:p>
            <a:pPr marL="179388" lvl="1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Changes in attitudes – in favour of net lease due to bad experience with gross lease</a:t>
            </a:r>
          </a:p>
          <a:p>
            <a:pPr marL="179388" lvl="1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Priority – quality of the premises than the TOC</a:t>
            </a:r>
          </a:p>
          <a:p>
            <a:pPr marL="179388" lvl="1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700" smtClean="0">
                <a:latin typeface="Arial" charset="0"/>
                <a:cs typeface="Arial" charset="0"/>
              </a:rPr>
              <a:t> International tenants are more resistant to gross leases than NZ tenants </a:t>
            </a:r>
          </a:p>
          <a:p>
            <a:pPr marL="454025" lvl="2" indent="-179388" defTabSz="933450" eaLnBrk="1" hangingPunct="1">
              <a:lnSpc>
                <a:spcPct val="150000"/>
              </a:lnSpc>
              <a:spcBef>
                <a:spcPct val="0"/>
              </a:spcBef>
              <a:buClrTx/>
              <a:buSzPct val="110000"/>
              <a:buFont typeface="Wingdings" pitchFamily="2" charset="2"/>
              <a:buChar char="§"/>
            </a:pPr>
            <a:r>
              <a:rPr lang="en-US" sz="1500" smtClean="0">
                <a:latin typeface="Arial" charset="0"/>
                <a:cs typeface="Arial" charset="0"/>
              </a:rPr>
              <a:t>Familiarity with net leases overseas     </a:t>
            </a:r>
            <a:r>
              <a:rPr lang="en-US" sz="1400" smtClean="0">
                <a:latin typeface="Arial" charset="0"/>
                <a:cs typeface="Arial" charset="0"/>
              </a:rPr>
              <a:t>   </a:t>
            </a:r>
          </a:p>
          <a:p>
            <a:pPr defTabSz="933450">
              <a:lnSpc>
                <a:spcPct val="150000"/>
              </a:lnSpc>
              <a:spcBef>
                <a:spcPct val="0"/>
              </a:spcBef>
              <a:buClrTx/>
              <a:buSzPct val="110000"/>
            </a:pPr>
            <a:endParaRPr lang="en-NZ" sz="1700" smtClean="0"/>
          </a:p>
        </p:txBody>
      </p:sp>
      <p:sp>
        <p:nvSpPr>
          <p:cNvPr id="16389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142875" y="2286000"/>
            <a:ext cx="3857625" cy="500063"/>
          </a:xfrm>
        </p:spPr>
        <p:txBody>
          <a:bodyPr/>
          <a:lstStyle/>
          <a:p>
            <a:r>
              <a:rPr lang="en-NZ" sz="1800" smtClean="0">
                <a:solidFill>
                  <a:schemeClr val="tx1"/>
                </a:solidFill>
                <a:latin typeface="Arial" charset="0"/>
                <a:cs typeface="Arial" charset="0"/>
              </a:rPr>
              <a:t>Public sector tenants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071938" y="2286000"/>
            <a:ext cx="5072062" cy="500063"/>
          </a:xfrm>
        </p:spPr>
        <p:txBody>
          <a:bodyPr/>
          <a:lstStyle/>
          <a:p>
            <a:pPr>
              <a:defRPr/>
            </a:pPr>
            <a:r>
              <a:rPr lang="en-NZ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vate sector tenants </a:t>
            </a:r>
            <a:endParaRPr lang="en-NZ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391" name="Rectangle 6"/>
          <p:cNvSpPr>
            <a:spLocks noChangeArrowheads="1"/>
          </p:cNvSpPr>
          <p:nvPr/>
        </p:nvSpPr>
        <p:spPr bwMode="auto">
          <a:xfrm>
            <a:off x="142875" y="1743075"/>
            <a:ext cx="7429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GB" sz="2000" b="1"/>
              <a:t>  Significantly varied with their business sector </a:t>
            </a:r>
            <a:endParaRPr lang="en-NZ" sz="20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0" y="273050"/>
            <a:ext cx="9144000" cy="869950"/>
          </a:xfrm>
        </p:spPr>
        <p:txBody>
          <a:bodyPr/>
          <a:lstStyle/>
          <a:p>
            <a:r>
              <a:rPr lang="en-NZ" sz="4200" b="1" smtClean="0">
                <a:solidFill>
                  <a:schemeClr val="tx1"/>
                </a:solidFill>
              </a:rPr>
              <a:t>Reasons for tenants’ lease preferences 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sz="quarter" idx="2"/>
          </p:nvPr>
        </p:nvSpPr>
        <p:spPr>
          <a:xfrm>
            <a:off x="142875" y="2357438"/>
            <a:ext cx="4214813" cy="4643437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Simplicity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Certainty of the total occupancy costs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Risks of OPEX increases are landlords’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Property management is the landlord’s responsibility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Gives more time to concentrate on their own businesses 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Applies more discipline to landlords towards OPEX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10000"/>
              <a:buFont typeface="Wingdings" pitchFamily="2" charset="2"/>
              <a:buNone/>
            </a:pPr>
            <a:endParaRPr lang="en-NZ" sz="1700" smtClean="0"/>
          </a:p>
        </p:txBody>
      </p:sp>
      <p:sp>
        <p:nvSpPr>
          <p:cNvPr id="17412" name="Content Placeholder 3"/>
          <p:cNvSpPr>
            <a:spLocks noGrp="1"/>
          </p:cNvSpPr>
          <p:nvPr>
            <p:ph sz="quarter" idx="4"/>
          </p:nvPr>
        </p:nvSpPr>
        <p:spPr>
          <a:xfrm>
            <a:off x="4429125" y="2328863"/>
            <a:ext cx="4714875" cy="4529137"/>
          </a:xfrm>
        </p:spPr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More responsive and proactive landlords as the costs can be recovered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Landlord can change the management style or the OPEX to meet tenant requirements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Easier to maintain the premises to the standard tenants desire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Better maintained and better quality accommodation </a:t>
            </a: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00000"/>
              <a:buFont typeface="Wingdings" pitchFamily="2" charset="2"/>
              <a:buChar char="§"/>
            </a:pPr>
            <a:r>
              <a:rPr lang="en-GB" sz="1800" smtClean="0">
                <a:latin typeface="Arial" charset="0"/>
                <a:cs typeface="Arial" charset="0"/>
              </a:rPr>
              <a:t>More tenant involvement with the management of the property </a:t>
            </a:r>
            <a:endParaRPr lang="en-NZ" sz="1800" smtClean="0">
              <a:latin typeface="Arial" charset="0"/>
              <a:cs typeface="Arial" charset="0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ClrTx/>
              <a:buSzPct val="110000"/>
              <a:buFont typeface="Wingdings" pitchFamily="2" charset="2"/>
              <a:buNone/>
            </a:pPr>
            <a:endParaRPr lang="en-NZ" sz="1700" smtClean="0"/>
          </a:p>
        </p:txBody>
      </p:sp>
      <p:sp>
        <p:nvSpPr>
          <p:cNvPr id="17413" name="Text Placeholder 4"/>
          <p:cNvSpPr>
            <a:spLocks noGrp="1"/>
          </p:cNvSpPr>
          <p:nvPr>
            <p:ph type="body" sz="quarter" idx="1"/>
          </p:nvPr>
        </p:nvSpPr>
        <p:spPr>
          <a:xfrm>
            <a:off x="142875" y="1714500"/>
            <a:ext cx="4214813" cy="500063"/>
          </a:xfrm>
        </p:spPr>
        <p:txBody>
          <a:bodyPr/>
          <a:lstStyle/>
          <a:p>
            <a:r>
              <a:rPr lang="en-NZ" smtClean="0">
                <a:solidFill>
                  <a:schemeClr val="tx1"/>
                </a:solidFill>
                <a:latin typeface="Arial" charset="0"/>
                <a:cs typeface="Arial" charset="0"/>
              </a:rPr>
              <a:t>Public tenants – gross lease 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429125" y="1714500"/>
            <a:ext cx="4714875" cy="500063"/>
          </a:xfrm>
        </p:spPr>
        <p:txBody>
          <a:bodyPr/>
          <a:lstStyle/>
          <a:p>
            <a:pPr>
              <a:spcBef>
                <a:spcPts val="800"/>
              </a:spcBef>
              <a:spcAft>
                <a:spcPts val="800"/>
              </a:spcAft>
              <a:defRPr/>
            </a:pPr>
            <a:r>
              <a:rPr lang="en-NZ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vate tenants – net lease </a:t>
            </a:r>
            <a:endParaRPr lang="en-NZ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uldWYc4mUKGTLABWrJP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4EI9SGhkkmE52CNAXFs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22SCQ7gDUafbsMywkIk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m.CxDwG70SGD2xRwSuT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nBXRFvwg0mwMIZaLU.Y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NwOHC0IEiAdxWlIf71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BNwOHC0IEiAdxWlIf71Y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Foundry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oundry">
    <a:dk1>
      <a:sysClr val="windowText" lastClr="000000"/>
    </a:dk1>
    <a:lt1>
      <a:sysClr val="window" lastClr="FFFFFF"/>
    </a:lt1>
    <a:dk2>
      <a:srgbClr val="676A55"/>
    </a:dk2>
    <a:lt2>
      <a:srgbClr val="EAEBDE"/>
    </a:lt2>
    <a:accent1>
      <a:srgbClr val="72A376"/>
    </a:accent1>
    <a:accent2>
      <a:srgbClr val="B0CCB0"/>
    </a:accent2>
    <a:accent3>
      <a:srgbClr val="A8CDD7"/>
    </a:accent3>
    <a:accent4>
      <a:srgbClr val="C0BEAF"/>
    </a:accent4>
    <a:accent5>
      <a:srgbClr val="CEC597"/>
    </a:accent5>
    <a:accent6>
      <a:srgbClr val="E8B7B7"/>
    </a:accent6>
    <a:hlink>
      <a:srgbClr val="DB5353"/>
    </a:hlink>
    <a:folHlink>
      <a:srgbClr val="90363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20002</TotalTime>
  <Words>1973</Words>
  <Application>Microsoft Office PowerPoint</Application>
  <PresentationFormat>On-screen Show (4:3)</PresentationFormat>
  <Paragraphs>295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Tw Cen MT</vt:lpstr>
      <vt:lpstr>Wingdings</vt:lpstr>
      <vt:lpstr>Wingdings 2</vt:lpstr>
      <vt:lpstr>宋体</vt:lpstr>
      <vt:lpstr>Arial Black</vt:lpstr>
      <vt:lpstr>Times New Roman</vt:lpstr>
      <vt:lpstr>Median</vt:lpstr>
      <vt:lpstr>TCLayout.ActiveDocument</vt:lpstr>
      <vt:lpstr>  Dulani Halvitigala, Deborah Levy, Laurence Murphy The University of Auckland New Zealand  </vt:lpstr>
      <vt:lpstr>Commercial property lease structures</vt:lpstr>
      <vt:lpstr>Related commercial leasing literature </vt:lpstr>
      <vt:lpstr>Purpose of study </vt:lpstr>
      <vt:lpstr>Research focus </vt:lpstr>
      <vt:lpstr>Research methodology – Landlords </vt:lpstr>
      <vt:lpstr>Research methodology – Major tenants </vt:lpstr>
      <vt:lpstr>Findings - Tenant perceptions of leases</vt:lpstr>
      <vt:lpstr>Reasons for tenants’ lease preferences </vt:lpstr>
      <vt:lpstr>Landlord perception of leases </vt:lpstr>
      <vt:lpstr>Financial implication for investment returns</vt:lpstr>
      <vt:lpstr>OPEX sharing process </vt:lpstr>
      <vt:lpstr>Issues with OPEX sharing process under net lease</vt:lpstr>
      <vt:lpstr>Operation &amp; maintenance process</vt:lpstr>
      <vt:lpstr>Landlord-tenant relationship </vt:lpstr>
      <vt:lpstr>Future lease preferences </vt:lpstr>
      <vt:lpstr>Flexibility in tenant future lease selections </vt:lpstr>
      <vt:lpstr>Discussion and implications </vt:lpstr>
      <vt:lpstr>Discussion and implications </vt:lpstr>
      <vt:lpstr>Slide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ulani</dc:creator>
  <cp:lastModifiedBy>Faculty of Business and Economics</cp:lastModifiedBy>
  <cp:revision>977</cp:revision>
  <dcterms:created xsi:type="dcterms:W3CDTF">2007-12-21T21:42:07Z</dcterms:created>
  <dcterms:modified xsi:type="dcterms:W3CDTF">2010-06-10T07:42:55Z</dcterms:modified>
</cp:coreProperties>
</file>